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 id="2147483686" r:id="rId5"/>
    <p:sldMasterId id="2147483729" r:id="rId6"/>
  </p:sldMasterIdLst>
  <p:notesMasterIdLst>
    <p:notesMasterId r:id="rId22"/>
  </p:notesMasterIdLst>
  <p:sldIdLst>
    <p:sldId id="257" r:id="rId7"/>
    <p:sldId id="274" r:id="rId8"/>
    <p:sldId id="267" r:id="rId9"/>
    <p:sldId id="2145707580" r:id="rId10"/>
    <p:sldId id="2145707737" r:id="rId11"/>
    <p:sldId id="2145707738" r:id="rId12"/>
    <p:sldId id="273" r:id="rId13"/>
    <p:sldId id="269" r:id="rId14"/>
    <p:sldId id="2145707740" r:id="rId15"/>
    <p:sldId id="2145707741" r:id="rId16"/>
    <p:sldId id="272" r:id="rId17"/>
    <p:sldId id="266" r:id="rId18"/>
    <p:sldId id="275" r:id="rId19"/>
    <p:sldId id="2145707739" r:id="rId20"/>
    <p:sldId id="214570756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2FE1779-F4D2-4EF6-8C67-753FAFEF0BF5}">
          <p14:sldIdLst>
            <p14:sldId id="257"/>
            <p14:sldId id="274"/>
            <p14:sldId id="267"/>
            <p14:sldId id="2145707580"/>
            <p14:sldId id="2145707737"/>
            <p14:sldId id="2145707738"/>
            <p14:sldId id="273"/>
            <p14:sldId id="269"/>
            <p14:sldId id="2145707740"/>
            <p14:sldId id="2145707741"/>
            <p14:sldId id="272"/>
            <p14:sldId id="266"/>
            <p14:sldId id="275"/>
            <p14:sldId id="2145707739"/>
            <p14:sldId id="21457075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3C9A36-B679-9643-A6B6-C7E47207DABF}" name="Gerasimos Monokrousos (ATH)" initials="GM" userId="S::G.Monokrousos@eldoradogold.com::caf9d7c0-9447-4f32-9c26-99fefe87762d" providerId="AD"/>
  <p188:author id="{15F1F5F6-B0BC-FBA2-E17B-19D56F46E894}" name="Eirini Strikou (STR)" initials="E(" userId="S::eirini.strikou@eldoradogold.com::1f82ff53-bc97-48dd-9df2-a2e993f725d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080"/>
    <a:srgbClr val="009999"/>
    <a:srgbClr val="1E9A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5752C5-6F56-4488-94C8-7E53D65032B4}" v="448" dt="2024-11-19T09:05:57.668"/>
    <p1510:client id="{4244FCE3-063A-484F-97F9-07421ADE8F48}" v="284" dt="2024-11-19T14:47:06.478"/>
    <p1510:client id="{4B16E8DA-CC44-DE2F-56EA-9AE6A7977A8A}" v="12" dt="2024-11-18T16:13:32.611"/>
    <p1510:client id="{6FF9F549-0998-BC20-A338-A64775B49C77}" v="63" dt="2024-11-19T14:28:01.9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73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rasimos Monokrousos (ATH)" userId="caf9d7c0-9447-4f32-9c26-99fefe87762d" providerId="ADAL" clId="{A5DA9329-67C0-46B6-B741-72E58716D021}"/>
    <pc:docChg chg="undo custSel addSld delSld modSld modSection">
      <pc:chgData name="Gerasimos Monokrousos (ATH)" userId="caf9d7c0-9447-4f32-9c26-99fefe87762d" providerId="ADAL" clId="{A5DA9329-67C0-46B6-B741-72E58716D021}" dt="2024-11-18T10:55:20.187" v="439" actId="47"/>
      <pc:docMkLst>
        <pc:docMk/>
      </pc:docMkLst>
      <pc:sldChg chg="mod modShow">
        <pc:chgData name="Gerasimos Monokrousos (ATH)" userId="caf9d7c0-9447-4f32-9c26-99fefe87762d" providerId="ADAL" clId="{A5DA9329-67C0-46B6-B741-72E58716D021}" dt="2024-11-14T14:00:41.607" v="200" actId="729"/>
        <pc:sldMkLst>
          <pc:docMk/>
          <pc:sldMk cId="3381665031" sldId="258"/>
        </pc:sldMkLst>
      </pc:sldChg>
      <pc:sldChg chg="addSp delSp modSp mod">
        <pc:chgData name="Gerasimos Monokrousos (ATH)" userId="caf9d7c0-9447-4f32-9c26-99fefe87762d" providerId="ADAL" clId="{A5DA9329-67C0-46B6-B741-72E58716D021}" dt="2024-11-18T10:46:35.616" v="405" actId="20577"/>
        <pc:sldMkLst>
          <pc:docMk/>
          <pc:sldMk cId="2502141173" sldId="267"/>
        </pc:sldMkLst>
        <pc:spChg chg="mod">
          <ac:chgData name="Gerasimos Monokrousos (ATH)" userId="caf9d7c0-9447-4f32-9c26-99fefe87762d" providerId="ADAL" clId="{A5DA9329-67C0-46B6-B741-72E58716D021}" dt="2024-11-18T10:46:35.616" v="405" actId="20577"/>
          <ac:spMkLst>
            <pc:docMk/>
            <pc:sldMk cId="2502141173" sldId="267"/>
            <ac:spMk id="3" creationId="{BAC65038-DCDB-FEF5-88B9-BF2C2BCFAE63}"/>
          </ac:spMkLst>
        </pc:spChg>
        <pc:picChg chg="del">
          <ac:chgData name="Gerasimos Monokrousos (ATH)" userId="caf9d7c0-9447-4f32-9c26-99fefe87762d" providerId="ADAL" clId="{A5DA9329-67C0-46B6-B741-72E58716D021}" dt="2024-11-18T10:46:21.168" v="403" actId="478"/>
          <ac:picMkLst>
            <pc:docMk/>
            <pc:sldMk cId="2502141173" sldId="267"/>
            <ac:picMk id="2" creationId="{8CC91BC5-C15D-3766-E164-70CD60663D30}"/>
          </ac:picMkLst>
        </pc:picChg>
        <pc:picChg chg="add mod">
          <ac:chgData name="Gerasimos Monokrousos (ATH)" userId="caf9d7c0-9447-4f32-9c26-99fefe87762d" providerId="ADAL" clId="{A5DA9329-67C0-46B6-B741-72E58716D021}" dt="2024-11-18T10:46:27.101" v="404"/>
          <ac:picMkLst>
            <pc:docMk/>
            <pc:sldMk cId="2502141173" sldId="267"/>
            <ac:picMk id="5" creationId="{77D94653-3958-6A86-CF31-AE2173D285A2}"/>
          </ac:picMkLst>
        </pc:picChg>
        <pc:picChg chg="mod">
          <ac:chgData name="Gerasimos Monokrousos (ATH)" userId="caf9d7c0-9447-4f32-9c26-99fefe87762d" providerId="ADAL" clId="{A5DA9329-67C0-46B6-B741-72E58716D021}" dt="2024-11-14T14:08:55.319" v="218" actId="14100"/>
          <ac:picMkLst>
            <pc:docMk/>
            <pc:sldMk cId="2502141173" sldId="267"/>
            <ac:picMk id="9" creationId="{DCDB0002-15DF-7A2F-FF11-C13E22B72B48}"/>
          </ac:picMkLst>
        </pc:picChg>
      </pc:sldChg>
      <pc:sldChg chg="addSp delSp modSp mod">
        <pc:chgData name="Gerasimos Monokrousos (ATH)" userId="caf9d7c0-9447-4f32-9c26-99fefe87762d" providerId="ADAL" clId="{A5DA9329-67C0-46B6-B741-72E58716D021}" dt="2024-11-14T14:08:50.859" v="217" actId="14100"/>
        <pc:sldMkLst>
          <pc:docMk/>
          <pc:sldMk cId="3598442101" sldId="268"/>
        </pc:sldMkLst>
        <pc:picChg chg="add mod modCrop">
          <ac:chgData name="Gerasimos Monokrousos (ATH)" userId="caf9d7c0-9447-4f32-9c26-99fefe87762d" providerId="ADAL" clId="{A5DA9329-67C0-46B6-B741-72E58716D021}" dt="2024-11-14T14:08:50.859" v="217" actId="14100"/>
          <ac:picMkLst>
            <pc:docMk/>
            <pc:sldMk cId="3598442101" sldId="268"/>
            <ac:picMk id="6" creationId="{2DBC8DC1-2519-2654-90A9-DD8955763685}"/>
          </ac:picMkLst>
        </pc:picChg>
        <pc:picChg chg="del">
          <ac:chgData name="Gerasimos Monokrousos (ATH)" userId="caf9d7c0-9447-4f32-9c26-99fefe87762d" providerId="ADAL" clId="{A5DA9329-67C0-46B6-B741-72E58716D021}" dt="2024-11-14T14:02:21.504" v="204" actId="478"/>
          <ac:picMkLst>
            <pc:docMk/>
            <pc:sldMk cId="3598442101" sldId="268"/>
            <ac:picMk id="9" creationId="{1D81F7D6-C644-D9DF-D615-67C6B7030717}"/>
          </ac:picMkLst>
        </pc:picChg>
      </pc:sldChg>
      <pc:sldChg chg="addSp delSp modSp mod">
        <pc:chgData name="Gerasimos Monokrousos (ATH)" userId="caf9d7c0-9447-4f32-9c26-99fefe87762d" providerId="ADAL" clId="{A5DA9329-67C0-46B6-B741-72E58716D021}" dt="2024-11-14T14:10:51.349" v="304" actId="1037"/>
        <pc:sldMkLst>
          <pc:docMk/>
          <pc:sldMk cId="2534270834" sldId="269"/>
        </pc:sldMkLst>
        <pc:graphicFrameChg chg="mod">
          <ac:chgData name="Gerasimos Monokrousos (ATH)" userId="caf9d7c0-9447-4f32-9c26-99fefe87762d" providerId="ADAL" clId="{A5DA9329-67C0-46B6-B741-72E58716D021}" dt="2024-11-14T14:10:47.470" v="294" actId="1037"/>
          <ac:graphicFrameMkLst>
            <pc:docMk/>
            <pc:sldMk cId="2534270834" sldId="269"/>
            <ac:graphicFrameMk id="7" creationId="{43B9C5EF-E1CA-3E6C-EC94-5BDED359BFEE}"/>
          </ac:graphicFrameMkLst>
        </pc:graphicFrameChg>
        <pc:picChg chg="add mod">
          <ac:chgData name="Gerasimos Monokrousos (ATH)" userId="caf9d7c0-9447-4f32-9c26-99fefe87762d" providerId="ADAL" clId="{A5DA9329-67C0-46B6-B741-72E58716D021}" dt="2024-11-14T14:10:51.349" v="304" actId="1037"/>
          <ac:picMkLst>
            <pc:docMk/>
            <pc:sldMk cId="2534270834" sldId="269"/>
            <ac:picMk id="6" creationId="{84DD005A-45D8-49F6-2ED2-E312403E5A78}"/>
          </ac:picMkLst>
        </pc:picChg>
        <pc:picChg chg="del">
          <ac:chgData name="Gerasimos Monokrousos (ATH)" userId="caf9d7c0-9447-4f32-9c26-99fefe87762d" providerId="ADAL" clId="{A5DA9329-67C0-46B6-B741-72E58716D021}" dt="2024-11-14T14:10:01.660" v="219" actId="478"/>
          <ac:picMkLst>
            <pc:docMk/>
            <pc:sldMk cId="2534270834" sldId="269"/>
            <ac:picMk id="8" creationId="{5EC227B8-9AFC-6053-1625-A19EBBF57609}"/>
          </ac:picMkLst>
        </pc:picChg>
        <pc:picChg chg="del">
          <ac:chgData name="Gerasimos Monokrousos (ATH)" userId="caf9d7c0-9447-4f32-9c26-99fefe87762d" providerId="ADAL" clId="{A5DA9329-67C0-46B6-B741-72E58716D021}" dt="2024-11-14T14:10:01.917" v="220" actId="478"/>
          <ac:picMkLst>
            <pc:docMk/>
            <pc:sldMk cId="2534270834" sldId="269"/>
            <ac:picMk id="10" creationId="{FA3D6550-E06D-D43A-4243-DC983A91C52F}"/>
          </ac:picMkLst>
        </pc:picChg>
      </pc:sldChg>
      <pc:sldChg chg="addSp delSp modSp mod">
        <pc:chgData name="Gerasimos Monokrousos (ATH)" userId="caf9d7c0-9447-4f32-9c26-99fefe87762d" providerId="ADAL" clId="{A5DA9329-67C0-46B6-B741-72E58716D021}" dt="2024-11-14T14:28:14.502" v="402" actId="1076"/>
        <pc:sldMkLst>
          <pc:docMk/>
          <pc:sldMk cId="251721847" sldId="272"/>
        </pc:sldMkLst>
        <pc:picChg chg="add mod">
          <ac:chgData name="Gerasimos Monokrousos (ATH)" userId="caf9d7c0-9447-4f32-9c26-99fefe87762d" providerId="ADAL" clId="{A5DA9329-67C0-46B6-B741-72E58716D021}" dt="2024-11-14T14:28:14.502" v="402" actId="1076"/>
          <ac:picMkLst>
            <pc:docMk/>
            <pc:sldMk cId="251721847" sldId="272"/>
            <ac:picMk id="5" creationId="{4CBA3645-8179-7675-065B-D67CBA581898}"/>
          </ac:picMkLst>
        </pc:picChg>
        <pc:picChg chg="del">
          <ac:chgData name="Gerasimos Monokrousos (ATH)" userId="caf9d7c0-9447-4f32-9c26-99fefe87762d" providerId="ADAL" clId="{A5DA9329-67C0-46B6-B741-72E58716D021}" dt="2024-11-14T14:12:42.679" v="305" actId="478"/>
          <ac:picMkLst>
            <pc:docMk/>
            <pc:sldMk cId="251721847" sldId="272"/>
            <ac:picMk id="8" creationId="{F81A1FD2-10BB-2360-1C65-D279AAB5A411}"/>
          </ac:picMkLst>
        </pc:picChg>
      </pc:sldChg>
      <pc:sldChg chg="modSp mod">
        <pc:chgData name="Gerasimos Monokrousos (ATH)" userId="caf9d7c0-9447-4f32-9c26-99fefe87762d" providerId="ADAL" clId="{A5DA9329-67C0-46B6-B741-72E58716D021}" dt="2024-11-14T14:01:58.764" v="203" actId="1076"/>
        <pc:sldMkLst>
          <pc:docMk/>
          <pc:sldMk cId="202947801" sldId="274"/>
        </pc:sldMkLst>
        <pc:picChg chg="mod">
          <ac:chgData name="Gerasimos Monokrousos (ATH)" userId="caf9d7c0-9447-4f32-9c26-99fefe87762d" providerId="ADAL" clId="{A5DA9329-67C0-46B6-B741-72E58716D021}" dt="2024-11-14T14:01:58.764" v="203" actId="1076"/>
          <ac:picMkLst>
            <pc:docMk/>
            <pc:sldMk cId="202947801" sldId="274"/>
            <ac:picMk id="10" creationId="{6375BC40-1525-1B69-FFB0-22AA66FFC7C5}"/>
          </ac:picMkLst>
        </pc:picChg>
      </pc:sldChg>
      <pc:sldChg chg="addSp delSp modSp add mod">
        <pc:chgData name="Gerasimos Monokrousos (ATH)" userId="caf9d7c0-9447-4f32-9c26-99fefe87762d" providerId="ADAL" clId="{A5DA9329-67C0-46B6-B741-72E58716D021}" dt="2024-11-14T14:27:08.611" v="400" actId="14100"/>
        <pc:sldMkLst>
          <pc:docMk/>
          <pc:sldMk cId="1871995062" sldId="275"/>
        </pc:sldMkLst>
        <pc:spChg chg="del">
          <ac:chgData name="Gerasimos Monokrousos (ATH)" userId="caf9d7c0-9447-4f32-9c26-99fefe87762d" providerId="ADAL" clId="{A5DA9329-67C0-46B6-B741-72E58716D021}" dt="2024-11-14T13:54:53.355" v="11" actId="478"/>
          <ac:spMkLst>
            <pc:docMk/>
            <pc:sldMk cId="1871995062" sldId="275"/>
            <ac:spMk id="8" creationId="{7A0CEEDE-78EE-6F2D-BBA0-EB6A0761EF44}"/>
          </ac:spMkLst>
        </pc:spChg>
        <pc:spChg chg="del">
          <ac:chgData name="Gerasimos Monokrousos (ATH)" userId="caf9d7c0-9447-4f32-9c26-99fefe87762d" providerId="ADAL" clId="{A5DA9329-67C0-46B6-B741-72E58716D021}" dt="2024-11-14T13:54:47.496" v="3" actId="478"/>
          <ac:spMkLst>
            <pc:docMk/>
            <pc:sldMk cId="1871995062" sldId="275"/>
            <ac:spMk id="10" creationId="{00CAC9F4-0EBB-0B50-5C7C-AB9434205CCF}"/>
          </ac:spMkLst>
        </pc:spChg>
        <pc:spChg chg="del">
          <ac:chgData name="Gerasimos Monokrousos (ATH)" userId="caf9d7c0-9447-4f32-9c26-99fefe87762d" providerId="ADAL" clId="{A5DA9329-67C0-46B6-B741-72E58716D021}" dt="2024-11-14T13:54:52.350" v="10" actId="478"/>
          <ac:spMkLst>
            <pc:docMk/>
            <pc:sldMk cId="1871995062" sldId="275"/>
            <ac:spMk id="11" creationId="{BEF9E22B-4937-4074-8B09-1208D826E766}"/>
          </ac:spMkLst>
        </pc:spChg>
        <pc:spChg chg="del mod">
          <ac:chgData name="Gerasimos Monokrousos (ATH)" userId="caf9d7c0-9447-4f32-9c26-99fefe87762d" providerId="ADAL" clId="{A5DA9329-67C0-46B6-B741-72E58716D021}" dt="2024-11-14T13:54:51.963" v="9" actId="478"/>
          <ac:spMkLst>
            <pc:docMk/>
            <pc:sldMk cId="1871995062" sldId="275"/>
            <ac:spMk id="12" creationId="{C906966A-E8F8-FD61-A1AB-EC128EFAA166}"/>
          </ac:spMkLst>
        </pc:spChg>
        <pc:spChg chg="mod">
          <ac:chgData name="Gerasimos Monokrousos (ATH)" userId="caf9d7c0-9447-4f32-9c26-99fefe87762d" providerId="ADAL" clId="{A5DA9329-67C0-46B6-B741-72E58716D021}" dt="2024-11-14T13:55:09.434" v="15" actId="403"/>
          <ac:spMkLst>
            <pc:docMk/>
            <pc:sldMk cId="1871995062" sldId="275"/>
            <ac:spMk id="73" creationId="{6A3F753B-4637-2970-A80E-1262650D9D58}"/>
          </ac:spMkLst>
        </pc:spChg>
        <pc:spChg chg="mod">
          <ac:chgData name="Gerasimos Monokrousos (ATH)" userId="caf9d7c0-9447-4f32-9c26-99fefe87762d" providerId="ADAL" clId="{A5DA9329-67C0-46B6-B741-72E58716D021}" dt="2024-11-14T14:00:13.838" v="195" actId="1076"/>
          <ac:spMkLst>
            <pc:docMk/>
            <pc:sldMk cId="1871995062" sldId="275"/>
            <ac:spMk id="74" creationId="{321D99D0-107F-3A73-6997-F7D4D7AB0C39}"/>
          </ac:spMkLst>
        </pc:spChg>
        <pc:spChg chg="mod">
          <ac:chgData name="Gerasimos Monokrousos (ATH)" userId="caf9d7c0-9447-4f32-9c26-99fefe87762d" providerId="ADAL" clId="{A5DA9329-67C0-46B6-B741-72E58716D021}" dt="2024-11-14T13:55:30.225" v="17" actId="403"/>
          <ac:spMkLst>
            <pc:docMk/>
            <pc:sldMk cId="1871995062" sldId="275"/>
            <ac:spMk id="75" creationId="{DCCFF346-3BBF-9B4F-FCF4-C90B4CDD7BA1}"/>
          </ac:spMkLst>
        </pc:spChg>
        <pc:spChg chg="mod">
          <ac:chgData name="Gerasimos Monokrousos (ATH)" userId="caf9d7c0-9447-4f32-9c26-99fefe87762d" providerId="ADAL" clId="{A5DA9329-67C0-46B6-B741-72E58716D021}" dt="2024-11-14T14:24:52.405" v="361" actId="1076"/>
          <ac:spMkLst>
            <pc:docMk/>
            <pc:sldMk cId="1871995062" sldId="275"/>
            <ac:spMk id="76" creationId="{3D1CE2B1-30E3-456B-1827-93C51D396D8E}"/>
          </ac:spMkLst>
        </pc:spChg>
        <pc:spChg chg="add mod">
          <ac:chgData name="Gerasimos Monokrousos (ATH)" userId="caf9d7c0-9447-4f32-9c26-99fefe87762d" providerId="ADAL" clId="{A5DA9329-67C0-46B6-B741-72E58716D021}" dt="2024-11-14T14:25:01.100" v="371" actId="1036"/>
          <ac:spMkLst>
            <pc:docMk/>
            <pc:sldMk cId="1871995062" sldId="275"/>
            <ac:spMk id="79" creationId="{D294E0CF-946C-3A08-9E9A-4BCD225526C0}"/>
          </ac:spMkLst>
        </pc:spChg>
        <pc:spChg chg="add mod">
          <ac:chgData name="Gerasimos Monokrousos (ATH)" userId="caf9d7c0-9447-4f32-9c26-99fefe87762d" providerId="ADAL" clId="{A5DA9329-67C0-46B6-B741-72E58716D021}" dt="2024-11-14T14:25:15.018" v="398" actId="1037"/>
          <ac:spMkLst>
            <pc:docMk/>
            <pc:sldMk cId="1871995062" sldId="275"/>
            <ac:spMk id="80" creationId="{01469C6E-57AA-EB8D-DD50-BFD0871D5FA2}"/>
          </ac:spMkLst>
        </pc:spChg>
        <pc:spChg chg="add mod">
          <ac:chgData name="Gerasimos Monokrousos (ATH)" userId="caf9d7c0-9447-4f32-9c26-99fefe87762d" providerId="ADAL" clId="{A5DA9329-67C0-46B6-B741-72E58716D021}" dt="2024-11-14T14:25:01.100" v="371" actId="1036"/>
          <ac:spMkLst>
            <pc:docMk/>
            <pc:sldMk cId="1871995062" sldId="275"/>
            <ac:spMk id="81" creationId="{ADB4B4D6-793E-169C-43CD-69FE416D5E1B}"/>
          </ac:spMkLst>
        </pc:spChg>
        <pc:spChg chg="add mod">
          <ac:chgData name="Gerasimos Monokrousos (ATH)" userId="caf9d7c0-9447-4f32-9c26-99fefe87762d" providerId="ADAL" clId="{A5DA9329-67C0-46B6-B741-72E58716D021}" dt="2024-11-14T13:59:19.021" v="191" actId="1037"/>
          <ac:spMkLst>
            <pc:docMk/>
            <pc:sldMk cId="1871995062" sldId="275"/>
            <ac:spMk id="82" creationId="{6C265B3B-A0AA-BBA2-0006-2130C2249FF0}"/>
          </ac:spMkLst>
        </pc:spChg>
        <pc:spChg chg="add mod">
          <ac:chgData name="Gerasimos Monokrousos (ATH)" userId="caf9d7c0-9447-4f32-9c26-99fefe87762d" providerId="ADAL" clId="{A5DA9329-67C0-46B6-B741-72E58716D021}" dt="2024-11-14T13:59:19.021" v="191" actId="1037"/>
          <ac:spMkLst>
            <pc:docMk/>
            <pc:sldMk cId="1871995062" sldId="275"/>
            <ac:spMk id="83" creationId="{A017047C-F686-A5EA-3DE7-115694B4904A}"/>
          </ac:spMkLst>
        </pc:spChg>
        <pc:spChg chg="add mod">
          <ac:chgData name="Gerasimos Monokrousos (ATH)" userId="caf9d7c0-9447-4f32-9c26-99fefe87762d" providerId="ADAL" clId="{A5DA9329-67C0-46B6-B741-72E58716D021}" dt="2024-11-14T13:59:19.021" v="191" actId="1037"/>
          <ac:spMkLst>
            <pc:docMk/>
            <pc:sldMk cId="1871995062" sldId="275"/>
            <ac:spMk id="84" creationId="{8168F8A1-33AD-322D-DF57-99F6CBA3DF6F}"/>
          </ac:spMkLst>
        </pc:spChg>
        <pc:spChg chg="add mod">
          <ac:chgData name="Gerasimos Monokrousos (ATH)" userId="caf9d7c0-9447-4f32-9c26-99fefe87762d" providerId="ADAL" clId="{A5DA9329-67C0-46B6-B741-72E58716D021}" dt="2024-11-14T13:59:46.258" v="193" actId="14100"/>
          <ac:spMkLst>
            <pc:docMk/>
            <pc:sldMk cId="1871995062" sldId="275"/>
            <ac:spMk id="85" creationId="{188C9EAF-E728-2F2C-3977-4A928E770DEB}"/>
          </ac:spMkLst>
        </pc:spChg>
        <pc:spChg chg="add mod">
          <ac:chgData name="Gerasimos Monokrousos (ATH)" userId="caf9d7c0-9447-4f32-9c26-99fefe87762d" providerId="ADAL" clId="{A5DA9329-67C0-46B6-B741-72E58716D021}" dt="2024-11-14T13:59:38.993" v="192" actId="14100"/>
          <ac:spMkLst>
            <pc:docMk/>
            <pc:sldMk cId="1871995062" sldId="275"/>
            <ac:spMk id="86" creationId="{9426DAF7-519C-7ED2-67A5-0542D32F3E09}"/>
          </ac:spMkLst>
        </pc:spChg>
        <pc:spChg chg="add mod">
          <ac:chgData name="Gerasimos Monokrousos (ATH)" userId="caf9d7c0-9447-4f32-9c26-99fefe87762d" providerId="ADAL" clId="{A5DA9329-67C0-46B6-B741-72E58716D021}" dt="2024-11-14T14:01:15.771" v="201" actId="207"/>
          <ac:spMkLst>
            <pc:docMk/>
            <pc:sldMk cId="1871995062" sldId="275"/>
            <ac:spMk id="87" creationId="{84A82CCA-F1AD-AA8F-F936-33DBC7EC9817}"/>
          </ac:spMkLst>
        </pc:spChg>
        <pc:spChg chg="add mod">
          <ac:chgData name="Gerasimos Monokrousos (ATH)" userId="caf9d7c0-9447-4f32-9c26-99fefe87762d" providerId="ADAL" clId="{A5DA9329-67C0-46B6-B741-72E58716D021}" dt="2024-11-14T13:58:03.715" v="92" actId="1035"/>
          <ac:spMkLst>
            <pc:docMk/>
            <pc:sldMk cId="1871995062" sldId="275"/>
            <ac:spMk id="88" creationId="{6EA4379F-AF59-AB97-714B-23056211AF17}"/>
          </ac:spMkLst>
        </pc:spChg>
        <pc:spChg chg="add mod">
          <ac:chgData name="Gerasimos Monokrousos (ATH)" userId="caf9d7c0-9447-4f32-9c26-99fefe87762d" providerId="ADAL" clId="{A5DA9329-67C0-46B6-B741-72E58716D021}" dt="2024-11-14T14:27:08.611" v="400" actId="14100"/>
          <ac:spMkLst>
            <pc:docMk/>
            <pc:sldMk cId="1871995062" sldId="275"/>
            <ac:spMk id="89" creationId="{6CCAFF8C-7BB4-C7B3-EC1E-35B212ABB480}"/>
          </ac:spMkLst>
        </pc:spChg>
        <pc:spChg chg="add mod">
          <ac:chgData name="Gerasimos Monokrousos (ATH)" userId="caf9d7c0-9447-4f32-9c26-99fefe87762d" providerId="ADAL" clId="{A5DA9329-67C0-46B6-B741-72E58716D021}" dt="2024-11-14T13:58:19.482" v="104" actId="1035"/>
          <ac:spMkLst>
            <pc:docMk/>
            <pc:sldMk cId="1871995062" sldId="275"/>
            <ac:spMk id="90" creationId="{3E8AE6A5-046D-EF50-88D4-0470A738726C}"/>
          </ac:spMkLst>
        </pc:spChg>
        <pc:grpChg chg="add mod">
          <ac:chgData name="Gerasimos Monokrousos (ATH)" userId="caf9d7c0-9447-4f32-9c26-99fefe87762d" providerId="ADAL" clId="{A5DA9329-67C0-46B6-B741-72E58716D021}" dt="2024-11-14T14:24:32.368" v="358" actId="14100"/>
          <ac:grpSpMkLst>
            <pc:docMk/>
            <pc:sldMk cId="1871995062" sldId="275"/>
            <ac:grpSpMk id="5" creationId="{EF8D0E51-7A92-709B-20B5-E6EC23D463E4}"/>
          </ac:grpSpMkLst>
        </pc:grpChg>
        <pc:grpChg chg="mod">
          <ac:chgData name="Gerasimos Monokrousos (ATH)" userId="caf9d7c0-9447-4f32-9c26-99fefe87762d" providerId="ADAL" clId="{A5DA9329-67C0-46B6-B741-72E58716D021}" dt="2024-11-14T13:54:55.247" v="12"/>
          <ac:grpSpMkLst>
            <pc:docMk/>
            <pc:sldMk cId="1871995062" sldId="275"/>
            <ac:grpSpMk id="9" creationId="{220FD440-3214-3DDE-84EA-524DBBF44CBB}"/>
          </ac:grpSpMkLst>
        </pc:grpChg>
        <pc:grpChg chg="del">
          <ac:chgData name="Gerasimos Monokrousos (ATH)" userId="caf9d7c0-9447-4f32-9c26-99fefe87762d" providerId="ADAL" clId="{A5DA9329-67C0-46B6-B741-72E58716D021}" dt="2024-11-14T13:54:49.560" v="6" actId="478"/>
          <ac:grpSpMkLst>
            <pc:docMk/>
            <pc:sldMk cId="1871995062" sldId="275"/>
            <ac:grpSpMk id="14" creationId="{E7E59311-0FEB-42DA-06BA-C8283DC73939}"/>
          </ac:grpSpMkLst>
        </pc:grpChg>
        <pc:grpChg chg="del">
          <ac:chgData name="Gerasimos Monokrousos (ATH)" userId="caf9d7c0-9447-4f32-9c26-99fefe87762d" providerId="ADAL" clId="{A5DA9329-67C0-46B6-B741-72E58716D021}" dt="2024-11-14T13:54:48.410" v="5" actId="478"/>
          <ac:grpSpMkLst>
            <pc:docMk/>
            <pc:sldMk cId="1871995062" sldId="275"/>
            <ac:grpSpMk id="63" creationId="{FB3EAFBD-21A7-2674-7341-D9B7B514BB1C}"/>
          </ac:grpSpMkLst>
        </pc:grpChg>
        <pc:grpChg chg="mod">
          <ac:chgData name="Gerasimos Monokrousos (ATH)" userId="caf9d7c0-9447-4f32-9c26-99fefe87762d" providerId="ADAL" clId="{A5DA9329-67C0-46B6-B741-72E58716D021}" dt="2024-11-14T13:54:55.247" v="12"/>
          <ac:grpSpMkLst>
            <pc:docMk/>
            <pc:sldMk cId="1871995062" sldId="275"/>
            <ac:grpSpMk id="68" creationId="{92C7733E-DC04-3EAB-C070-9248DEF61356}"/>
          </ac:grpSpMkLst>
        </pc:grpChg>
        <pc:grpChg chg="mod">
          <ac:chgData name="Gerasimos Monokrousos (ATH)" userId="caf9d7c0-9447-4f32-9c26-99fefe87762d" providerId="ADAL" clId="{A5DA9329-67C0-46B6-B741-72E58716D021}" dt="2024-11-14T13:54:55.247" v="12"/>
          <ac:grpSpMkLst>
            <pc:docMk/>
            <pc:sldMk cId="1871995062" sldId="275"/>
            <ac:grpSpMk id="70" creationId="{8ADE1711-6C40-9B7F-DEDD-674A3EFC8A9A}"/>
          </ac:grpSpMkLst>
        </pc:grpChg>
        <pc:picChg chg="add del mod">
          <ac:chgData name="Gerasimos Monokrousos (ATH)" userId="caf9d7c0-9447-4f32-9c26-99fefe87762d" providerId="ADAL" clId="{A5DA9329-67C0-46B6-B741-72E58716D021}" dt="2024-11-14T13:55:00.236" v="13" actId="478"/>
          <ac:picMkLst>
            <pc:docMk/>
            <pc:sldMk cId="1871995062" sldId="275"/>
            <ac:picMk id="2" creationId="{165DBFCD-C7DE-7B80-47C8-50175520BC27}"/>
          </ac:picMkLst>
        </pc:picChg>
        <pc:picChg chg="mod">
          <ac:chgData name="Gerasimos Monokrousos (ATH)" userId="caf9d7c0-9447-4f32-9c26-99fefe87762d" providerId="ADAL" clId="{A5DA9329-67C0-46B6-B741-72E58716D021}" dt="2024-11-14T13:54:55.247" v="12"/>
          <ac:picMkLst>
            <pc:docMk/>
            <pc:sldMk cId="1871995062" sldId="275"/>
            <ac:picMk id="6" creationId="{0C83C4A1-D8F4-BBF0-6D59-7FC0FCD33078}"/>
          </ac:picMkLst>
        </pc:picChg>
        <pc:picChg chg="mod">
          <ac:chgData name="Gerasimos Monokrousos (ATH)" userId="caf9d7c0-9447-4f32-9c26-99fefe87762d" providerId="ADAL" clId="{A5DA9329-67C0-46B6-B741-72E58716D021}" dt="2024-11-14T13:54:55.247" v="12"/>
          <ac:picMkLst>
            <pc:docMk/>
            <pc:sldMk cId="1871995062" sldId="275"/>
            <ac:picMk id="7" creationId="{ECC43A9A-F767-1BD4-62E9-B809C6A917E8}"/>
          </ac:picMkLst>
        </pc:picChg>
        <pc:picChg chg="mod">
          <ac:chgData name="Gerasimos Monokrousos (ATH)" userId="caf9d7c0-9447-4f32-9c26-99fefe87762d" providerId="ADAL" clId="{A5DA9329-67C0-46B6-B741-72E58716D021}" dt="2024-11-14T13:54:44.674" v="2" actId="1076"/>
          <ac:picMkLst>
            <pc:docMk/>
            <pc:sldMk cId="1871995062" sldId="275"/>
            <ac:picMk id="13" creationId="{9C2EE5B2-5E08-ABB3-BB9B-50F12F5D8C50}"/>
          </ac:picMkLst>
        </pc:picChg>
        <pc:picChg chg="mod">
          <ac:chgData name="Gerasimos Monokrousos (ATH)" userId="caf9d7c0-9447-4f32-9c26-99fefe87762d" providerId="ADAL" clId="{A5DA9329-67C0-46B6-B741-72E58716D021}" dt="2024-11-14T13:54:55.247" v="12"/>
          <ac:picMkLst>
            <pc:docMk/>
            <pc:sldMk cId="1871995062" sldId="275"/>
            <ac:picMk id="69" creationId="{3B714017-FE90-CB35-85AC-911C48E748EE}"/>
          </ac:picMkLst>
        </pc:picChg>
        <pc:picChg chg="mod">
          <ac:chgData name="Gerasimos Monokrousos (ATH)" userId="caf9d7c0-9447-4f32-9c26-99fefe87762d" providerId="ADAL" clId="{A5DA9329-67C0-46B6-B741-72E58716D021}" dt="2024-11-14T13:54:55.247" v="12"/>
          <ac:picMkLst>
            <pc:docMk/>
            <pc:sldMk cId="1871995062" sldId="275"/>
            <ac:picMk id="71" creationId="{57EB886E-3894-1C2F-3F40-841997AF0DC2}"/>
          </ac:picMkLst>
        </pc:picChg>
        <pc:picChg chg="mod">
          <ac:chgData name="Gerasimos Monokrousos (ATH)" userId="caf9d7c0-9447-4f32-9c26-99fefe87762d" providerId="ADAL" clId="{A5DA9329-67C0-46B6-B741-72E58716D021}" dt="2024-11-14T13:54:55.247" v="12"/>
          <ac:picMkLst>
            <pc:docMk/>
            <pc:sldMk cId="1871995062" sldId="275"/>
            <ac:picMk id="72" creationId="{27021394-A60C-E8B7-0B7B-DB0ACC6261A3}"/>
          </ac:picMkLst>
        </pc:picChg>
        <pc:picChg chg="add mod">
          <ac:chgData name="Gerasimos Monokrousos (ATH)" userId="caf9d7c0-9447-4f32-9c26-99fefe87762d" providerId="ADAL" clId="{A5DA9329-67C0-46B6-B741-72E58716D021}" dt="2024-11-14T14:24:45.232" v="360" actId="1076"/>
          <ac:picMkLst>
            <pc:docMk/>
            <pc:sldMk cId="1871995062" sldId="275"/>
            <ac:picMk id="77" creationId="{A1D98D45-DE3A-8A59-8384-1FE269DBF435}"/>
          </ac:picMkLst>
        </pc:picChg>
        <pc:picChg chg="add mod">
          <ac:chgData name="Gerasimos Monokrousos (ATH)" userId="caf9d7c0-9447-4f32-9c26-99fefe87762d" providerId="ADAL" clId="{A5DA9329-67C0-46B6-B741-72E58716D021}" dt="2024-11-14T14:24:42.578" v="359" actId="1076"/>
          <ac:picMkLst>
            <pc:docMk/>
            <pc:sldMk cId="1871995062" sldId="275"/>
            <ac:picMk id="78" creationId="{AE853C01-AEF5-344C-6635-5216BA402031}"/>
          </ac:picMkLst>
        </pc:picChg>
        <pc:cxnChg chg="del mod">
          <ac:chgData name="Gerasimos Monokrousos (ATH)" userId="caf9d7c0-9447-4f32-9c26-99fefe87762d" providerId="ADAL" clId="{A5DA9329-67C0-46B6-B741-72E58716D021}" dt="2024-11-14T13:54:47.811" v="4" actId="478"/>
          <ac:cxnSpMkLst>
            <pc:docMk/>
            <pc:sldMk cId="1871995062" sldId="275"/>
            <ac:cxnSpMk id="66" creationId="{CA34A69A-52CC-EE66-C54E-5B2B0BEB9291}"/>
          </ac:cxnSpMkLst>
        </pc:cxnChg>
        <pc:cxnChg chg="del">
          <ac:chgData name="Gerasimos Monokrousos (ATH)" userId="caf9d7c0-9447-4f32-9c26-99fefe87762d" providerId="ADAL" clId="{A5DA9329-67C0-46B6-B741-72E58716D021}" dt="2024-11-14T13:54:50.086" v="7" actId="478"/>
          <ac:cxnSpMkLst>
            <pc:docMk/>
            <pc:sldMk cId="1871995062" sldId="275"/>
            <ac:cxnSpMk id="67" creationId="{E158B54F-A643-16EE-D697-75A4EC2A6E04}"/>
          </ac:cxnSpMkLst>
        </pc:cxnChg>
      </pc:sldChg>
      <pc:sldChg chg="addSp delSp modSp mod">
        <pc:chgData name="Gerasimos Monokrousos (ATH)" userId="caf9d7c0-9447-4f32-9c26-99fefe87762d" providerId="ADAL" clId="{A5DA9329-67C0-46B6-B741-72E58716D021}" dt="2024-11-18T10:50:07.975" v="412" actId="1076"/>
        <pc:sldMkLst>
          <pc:docMk/>
          <pc:sldMk cId="3793366665" sldId="2145707561"/>
        </pc:sldMkLst>
        <pc:picChg chg="add mod">
          <ac:chgData name="Gerasimos Monokrousos (ATH)" userId="caf9d7c0-9447-4f32-9c26-99fefe87762d" providerId="ADAL" clId="{A5DA9329-67C0-46B6-B741-72E58716D021}" dt="2024-11-18T10:50:07.975" v="412" actId="1076"/>
          <ac:picMkLst>
            <pc:docMk/>
            <pc:sldMk cId="3793366665" sldId="2145707561"/>
            <ac:picMk id="8" creationId="{117DF3E9-D811-C54F-369B-8DE070FAD261}"/>
          </ac:picMkLst>
        </pc:picChg>
        <pc:picChg chg="del">
          <ac:chgData name="Gerasimos Monokrousos (ATH)" userId="caf9d7c0-9447-4f32-9c26-99fefe87762d" providerId="ADAL" clId="{A5DA9329-67C0-46B6-B741-72E58716D021}" dt="2024-11-18T10:49:51.078" v="406" actId="478"/>
          <ac:picMkLst>
            <pc:docMk/>
            <pc:sldMk cId="3793366665" sldId="2145707561"/>
            <ac:picMk id="10" creationId="{9D759BB0-B493-2A3B-1039-6C7FC7598E12}"/>
          </ac:picMkLst>
        </pc:picChg>
      </pc:sldChg>
      <pc:sldChg chg="addSp delSp modSp del mod modClrScheme chgLayout">
        <pc:chgData name="Gerasimos Monokrousos (ATH)" userId="caf9d7c0-9447-4f32-9c26-99fefe87762d" providerId="ADAL" clId="{A5DA9329-67C0-46B6-B741-72E58716D021}" dt="2024-11-18T10:55:20.187" v="439" actId="47"/>
        <pc:sldMkLst>
          <pc:docMk/>
          <pc:sldMk cId="825685016" sldId="2145707735"/>
        </pc:sldMkLst>
        <pc:spChg chg="add del">
          <ac:chgData name="Gerasimos Monokrousos (ATH)" userId="caf9d7c0-9447-4f32-9c26-99fefe87762d" providerId="ADAL" clId="{A5DA9329-67C0-46B6-B741-72E58716D021}" dt="2024-11-18T10:54:22.047" v="431" actId="478"/>
          <ac:spMkLst>
            <pc:docMk/>
            <pc:sldMk cId="825685016" sldId="2145707735"/>
            <ac:spMk id="2" creationId="{D50C22DD-A904-F7F8-FFDE-09B0772D903E}"/>
          </ac:spMkLst>
        </pc:spChg>
        <pc:spChg chg="del mod">
          <ac:chgData name="Gerasimos Monokrousos (ATH)" userId="caf9d7c0-9447-4f32-9c26-99fefe87762d" providerId="ADAL" clId="{A5DA9329-67C0-46B6-B741-72E58716D021}" dt="2024-11-18T10:54:41.301" v="435" actId="478"/>
          <ac:spMkLst>
            <pc:docMk/>
            <pc:sldMk cId="825685016" sldId="2145707735"/>
            <ac:spMk id="3" creationId="{64B6518C-65E5-90C5-BA9F-EE613C7F3B8E}"/>
          </ac:spMkLst>
        </pc:spChg>
        <pc:spChg chg="mod">
          <ac:chgData name="Gerasimos Monokrousos (ATH)" userId="caf9d7c0-9447-4f32-9c26-99fefe87762d" providerId="ADAL" clId="{A5DA9329-67C0-46B6-B741-72E58716D021}" dt="2024-11-18T10:53:29.320" v="423" actId="26606"/>
          <ac:spMkLst>
            <pc:docMk/>
            <pc:sldMk cId="825685016" sldId="2145707735"/>
            <ac:spMk id="4" creationId="{55A38E97-7107-D84D-DD8E-0EE95D8B992E}"/>
          </ac:spMkLst>
        </pc:spChg>
        <pc:spChg chg="mod">
          <ac:chgData name="Gerasimos Monokrousos (ATH)" userId="caf9d7c0-9447-4f32-9c26-99fefe87762d" providerId="ADAL" clId="{A5DA9329-67C0-46B6-B741-72E58716D021}" dt="2024-11-18T10:53:29.320" v="423" actId="26606"/>
          <ac:spMkLst>
            <pc:docMk/>
            <pc:sldMk cId="825685016" sldId="2145707735"/>
            <ac:spMk id="5" creationId="{0EA787CD-08A4-16C6-2620-2CD414053288}"/>
          </ac:spMkLst>
        </pc:spChg>
        <pc:spChg chg="add del mod">
          <ac:chgData name="Gerasimos Monokrousos (ATH)" userId="caf9d7c0-9447-4f32-9c26-99fefe87762d" providerId="ADAL" clId="{A5DA9329-67C0-46B6-B741-72E58716D021}" dt="2024-11-18T10:54:45.526" v="436" actId="478"/>
          <ac:spMkLst>
            <pc:docMk/>
            <pc:sldMk cId="825685016" sldId="2145707735"/>
            <ac:spMk id="16" creationId="{2E071AFD-BD6A-AA15-F4A5-D993C4B6AEA5}"/>
          </ac:spMkLst>
        </pc:spChg>
        <pc:picChg chg="add del mod ord">
          <ac:chgData name="Gerasimos Monokrousos (ATH)" userId="caf9d7c0-9447-4f32-9c26-99fefe87762d" providerId="ADAL" clId="{A5DA9329-67C0-46B6-B741-72E58716D021}" dt="2024-11-18T10:53:31.461" v="424" actId="478"/>
          <ac:picMkLst>
            <pc:docMk/>
            <pc:sldMk cId="825685016" sldId="2145707735"/>
            <ac:picMk id="7" creationId="{945A6146-A531-2DA4-CE9C-845957DA1DBF}"/>
          </ac:picMkLst>
        </pc:picChg>
        <pc:picChg chg="add mod">
          <ac:chgData name="Gerasimos Monokrousos (ATH)" userId="caf9d7c0-9447-4f32-9c26-99fefe87762d" providerId="ADAL" clId="{A5DA9329-67C0-46B6-B741-72E58716D021}" dt="2024-11-18T10:54:46.913" v="437" actId="1076"/>
          <ac:picMkLst>
            <pc:docMk/>
            <pc:sldMk cId="825685016" sldId="2145707735"/>
            <ac:picMk id="9" creationId="{6581E4F6-20C3-99C3-3B72-F60CFBF067DF}"/>
          </ac:picMkLst>
        </pc:picChg>
        <pc:picChg chg="add mod">
          <ac:chgData name="Gerasimos Monokrousos (ATH)" userId="caf9d7c0-9447-4f32-9c26-99fefe87762d" providerId="ADAL" clId="{A5DA9329-67C0-46B6-B741-72E58716D021}" dt="2024-11-18T10:54:06.843" v="428" actId="1076"/>
          <ac:picMkLst>
            <pc:docMk/>
            <pc:sldMk cId="825685016" sldId="2145707735"/>
            <ac:picMk id="11" creationId="{D71B9892-305A-6571-EAC0-0FCD93E5819D}"/>
          </ac:picMkLst>
        </pc:picChg>
        <pc:picChg chg="add mod">
          <ac:chgData name="Gerasimos Monokrousos (ATH)" userId="caf9d7c0-9447-4f32-9c26-99fefe87762d" providerId="ADAL" clId="{A5DA9329-67C0-46B6-B741-72E58716D021}" dt="2024-11-18T10:54:48.111" v="438" actId="1076"/>
          <ac:picMkLst>
            <pc:docMk/>
            <pc:sldMk cId="825685016" sldId="2145707735"/>
            <ac:picMk id="13" creationId="{E34E79E2-241E-C70C-C014-507A6192C6FA}"/>
          </ac:picMkLst>
        </pc:picChg>
        <pc:picChg chg="add mod">
          <ac:chgData name="Gerasimos Monokrousos (ATH)" userId="caf9d7c0-9447-4f32-9c26-99fefe87762d" providerId="ADAL" clId="{A5DA9329-67C0-46B6-B741-72E58716D021}" dt="2024-11-18T10:54:36.921" v="433" actId="1076"/>
          <ac:picMkLst>
            <pc:docMk/>
            <pc:sldMk cId="825685016" sldId="2145707735"/>
            <ac:picMk id="15" creationId="{2B358655-59C0-CDAA-2FCD-1D7396930668}"/>
          </ac:picMkLst>
        </pc:picChg>
      </pc:sldChg>
    </pc:docChg>
  </pc:docChgLst>
  <pc:docChgLst>
    <pc:chgData name="Mathieu Vallart (SKU)" userId="S::mathieu.vallart@eldoradogold.com::56e3c14d-6563-4ef7-b6de-99b9904107f1" providerId="AD" clId="Web-{4B16E8DA-CC44-DE2F-56EA-9AE6A7977A8A}"/>
    <pc:docChg chg="modSld">
      <pc:chgData name="Mathieu Vallart (SKU)" userId="S::mathieu.vallart@eldoradogold.com::56e3c14d-6563-4ef7-b6de-99b9904107f1" providerId="AD" clId="Web-{4B16E8DA-CC44-DE2F-56EA-9AE6A7977A8A}" dt="2024-11-18T16:13:30.721" v="9" actId="20577"/>
      <pc:docMkLst>
        <pc:docMk/>
      </pc:docMkLst>
      <pc:sldChg chg="modSp">
        <pc:chgData name="Mathieu Vallart (SKU)" userId="S::mathieu.vallart@eldoradogold.com::56e3c14d-6563-4ef7-b6de-99b9904107f1" providerId="AD" clId="Web-{4B16E8DA-CC44-DE2F-56EA-9AE6A7977A8A}" dt="2024-11-18T16:13:30.721" v="9" actId="20577"/>
        <pc:sldMkLst>
          <pc:docMk/>
          <pc:sldMk cId="1922133204" sldId="266"/>
        </pc:sldMkLst>
        <pc:spChg chg="mod">
          <ac:chgData name="Mathieu Vallart (SKU)" userId="S::mathieu.vallart@eldoradogold.com::56e3c14d-6563-4ef7-b6de-99b9904107f1" providerId="AD" clId="Web-{4B16E8DA-CC44-DE2F-56EA-9AE6A7977A8A}" dt="2024-11-18T16:13:30.721" v="9" actId="20577"/>
          <ac:spMkLst>
            <pc:docMk/>
            <pc:sldMk cId="1922133204" sldId="266"/>
            <ac:spMk id="2" creationId="{951E2999-C12D-41C1-99DA-B2027C42CA43}"/>
          </ac:spMkLst>
        </pc:spChg>
      </pc:sldChg>
    </pc:docChg>
  </pc:docChgLst>
  <pc:docChgLst>
    <pc:chgData name="Eirini Strikou (STR)" userId="S::eirini.strikou@eldoradogold.com::1f82ff53-bc97-48dd-9df2-a2e993f725dd" providerId="AD" clId="Web-{6C19C6C1-A3AC-DF10-63AE-878FCA6BB9A9}"/>
    <pc:docChg chg="addSld delSld modSld modSection">
      <pc:chgData name="Eirini Strikou (STR)" userId="S::eirini.strikou@eldoradogold.com::1f82ff53-bc97-48dd-9df2-a2e993f725dd" providerId="AD" clId="Web-{6C19C6C1-A3AC-DF10-63AE-878FCA6BB9A9}" dt="2024-11-15T12:16:31.668" v="37"/>
      <pc:docMkLst>
        <pc:docMk/>
      </pc:docMkLst>
      <pc:sldChg chg="add del">
        <pc:chgData name="Eirini Strikou (STR)" userId="S::eirini.strikou@eldoradogold.com::1f82ff53-bc97-48dd-9df2-a2e993f725dd" providerId="AD" clId="Web-{6C19C6C1-A3AC-DF10-63AE-878FCA6BB9A9}" dt="2024-11-15T11:49:57.774" v="2"/>
        <pc:sldMkLst>
          <pc:docMk/>
          <pc:sldMk cId="1683396119" sldId="2145707539"/>
        </pc:sldMkLst>
      </pc:sldChg>
      <pc:sldChg chg="modSp add">
        <pc:chgData name="Eirini Strikou (STR)" userId="S::eirini.strikou@eldoradogold.com::1f82ff53-bc97-48dd-9df2-a2e993f725dd" providerId="AD" clId="Web-{6C19C6C1-A3AC-DF10-63AE-878FCA6BB9A9}" dt="2024-11-15T11:53:38.745" v="34"/>
        <pc:sldMkLst>
          <pc:docMk/>
          <pc:sldMk cId="3793366665" sldId="2145707561"/>
        </pc:sldMkLst>
        <pc:spChg chg="mod">
          <ac:chgData name="Eirini Strikou (STR)" userId="S::eirini.strikou@eldoradogold.com::1f82ff53-bc97-48dd-9df2-a2e993f725dd" providerId="AD" clId="Web-{6C19C6C1-A3AC-DF10-63AE-878FCA6BB9A9}" dt="2024-11-15T11:53:20.292" v="6" actId="14100"/>
          <ac:spMkLst>
            <pc:docMk/>
            <pc:sldMk cId="3793366665" sldId="2145707561"/>
            <ac:spMk id="17430" creationId="{831966FF-B2A8-0C72-4075-2928EC6CE50C}"/>
          </ac:spMkLst>
        </pc:spChg>
        <pc:graphicFrameChg chg="mod modGraphic">
          <ac:chgData name="Eirini Strikou (STR)" userId="S::eirini.strikou@eldoradogold.com::1f82ff53-bc97-48dd-9df2-a2e993f725dd" providerId="AD" clId="Web-{6C19C6C1-A3AC-DF10-63AE-878FCA6BB9A9}" dt="2024-11-15T11:53:38.745" v="34"/>
          <ac:graphicFrameMkLst>
            <pc:docMk/>
            <pc:sldMk cId="3793366665" sldId="2145707561"/>
            <ac:graphicFrameMk id="5" creationId="{53B08F1D-8821-CABE-4DA9-2F5530CC3955}"/>
          </ac:graphicFrameMkLst>
        </pc:graphicFrameChg>
      </pc:sldChg>
      <pc:sldChg chg="delSp add">
        <pc:chgData name="Eirini Strikou (STR)" userId="S::eirini.strikou@eldoradogold.com::1f82ff53-bc97-48dd-9df2-a2e993f725dd" providerId="AD" clId="Web-{6C19C6C1-A3AC-DF10-63AE-878FCA6BB9A9}" dt="2024-11-15T12:05:07.191" v="36"/>
        <pc:sldMkLst>
          <pc:docMk/>
          <pc:sldMk cId="1163970992" sldId="2145707580"/>
        </pc:sldMkLst>
        <pc:grpChg chg="del">
          <ac:chgData name="Eirini Strikou (STR)" userId="S::eirini.strikou@eldoradogold.com::1f82ff53-bc97-48dd-9df2-a2e993f725dd" providerId="AD" clId="Web-{6C19C6C1-A3AC-DF10-63AE-878FCA6BB9A9}" dt="2024-11-15T12:05:07.191" v="36"/>
          <ac:grpSpMkLst>
            <pc:docMk/>
            <pc:sldMk cId="1163970992" sldId="2145707580"/>
            <ac:grpSpMk id="2" creationId="{BCD9F18C-60B6-CCB0-FAD5-C5AA4B4B432D}"/>
          </ac:grpSpMkLst>
        </pc:grpChg>
      </pc:sldChg>
      <pc:sldChg chg="add">
        <pc:chgData name="Eirini Strikou (STR)" userId="S::eirini.strikou@eldoradogold.com::1f82ff53-bc97-48dd-9df2-a2e993f725dd" providerId="AD" clId="Web-{6C19C6C1-A3AC-DF10-63AE-878FCA6BB9A9}" dt="2024-11-15T11:49:41.023" v="1"/>
        <pc:sldMkLst>
          <pc:docMk/>
          <pc:sldMk cId="2766675875" sldId="2145707689"/>
        </pc:sldMkLst>
      </pc:sldChg>
      <pc:sldChg chg="add">
        <pc:chgData name="Eirini Strikou (STR)" userId="S::eirini.strikou@eldoradogold.com::1f82ff53-bc97-48dd-9df2-a2e993f725dd" providerId="AD" clId="Web-{6C19C6C1-A3AC-DF10-63AE-878FCA6BB9A9}" dt="2024-11-15T12:16:31.668" v="37"/>
        <pc:sldMkLst>
          <pc:docMk/>
          <pc:sldMk cId="1618692924" sldId="2145707734"/>
        </pc:sldMkLst>
      </pc:sldChg>
      <pc:sldMasterChg chg="addSldLayout">
        <pc:chgData name="Eirini Strikou (STR)" userId="S::eirini.strikou@eldoradogold.com::1f82ff53-bc97-48dd-9df2-a2e993f725dd" providerId="AD" clId="Web-{6C19C6C1-A3AC-DF10-63AE-878FCA6BB9A9}" dt="2024-11-15T12:04:51.081" v="35"/>
        <pc:sldMasterMkLst>
          <pc:docMk/>
          <pc:sldMasterMk cId="1757432605" sldId="2147483686"/>
        </pc:sldMasterMkLst>
        <pc:sldLayoutChg chg="add">
          <pc:chgData name="Eirini Strikou (STR)" userId="S::eirini.strikou@eldoradogold.com::1f82ff53-bc97-48dd-9df2-a2e993f725dd" providerId="AD" clId="Web-{6C19C6C1-A3AC-DF10-63AE-878FCA6BB9A9}" dt="2024-11-15T11:48:20.851" v="0"/>
          <pc:sldLayoutMkLst>
            <pc:docMk/>
            <pc:sldMasterMk cId="1757432605" sldId="2147483686"/>
            <pc:sldLayoutMk cId="2447409287" sldId="2147483697"/>
          </pc:sldLayoutMkLst>
        </pc:sldLayoutChg>
        <pc:sldLayoutChg chg="add">
          <pc:chgData name="Eirini Strikou (STR)" userId="S::eirini.strikou@eldoradogold.com::1f82ff53-bc97-48dd-9df2-a2e993f725dd" providerId="AD" clId="Web-{6C19C6C1-A3AC-DF10-63AE-878FCA6BB9A9}" dt="2024-11-15T11:51:19.790" v="3"/>
          <pc:sldLayoutMkLst>
            <pc:docMk/>
            <pc:sldMasterMk cId="1757432605" sldId="2147483686"/>
            <pc:sldLayoutMk cId="1041012002" sldId="2147483698"/>
          </pc:sldLayoutMkLst>
        </pc:sldLayoutChg>
        <pc:sldLayoutChg chg="add">
          <pc:chgData name="Eirini Strikou (STR)" userId="S::eirini.strikou@eldoradogold.com::1f82ff53-bc97-48dd-9df2-a2e993f725dd" providerId="AD" clId="Web-{6C19C6C1-A3AC-DF10-63AE-878FCA6BB9A9}" dt="2024-11-15T12:04:51.081" v="35"/>
          <pc:sldLayoutMkLst>
            <pc:docMk/>
            <pc:sldMasterMk cId="1757432605" sldId="2147483686"/>
            <pc:sldLayoutMk cId="2774737841" sldId="2147483699"/>
          </pc:sldLayoutMkLst>
        </pc:sldLayoutChg>
      </pc:sldMasterChg>
    </pc:docChg>
  </pc:docChgLst>
  <pc:docChgLst>
    <pc:chgData name="Mathieu Vallart (SKU)" userId="S::mathieu.vallart@eldoradogold.com::56e3c14d-6563-4ef7-b6de-99b9904107f1" providerId="AD" clId="Web-{6FF9F549-0998-BC20-A338-A64775B49C77}"/>
    <pc:docChg chg="modSld">
      <pc:chgData name="Mathieu Vallart (SKU)" userId="S::mathieu.vallart@eldoradogold.com::56e3c14d-6563-4ef7-b6de-99b9904107f1" providerId="AD" clId="Web-{6FF9F549-0998-BC20-A338-A64775B49C77}" dt="2024-11-19T14:28:00.684" v="63" actId="20577"/>
      <pc:docMkLst>
        <pc:docMk/>
      </pc:docMkLst>
      <pc:sldChg chg="modSp">
        <pc:chgData name="Mathieu Vallart (SKU)" userId="S::mathieu.vallart@eldoradogold.com::56e3c14d-6563-4ef7-b6de-99b9904107f1" providerId="AD" clId="Web-{6FF9F549-0998-BC20-A338-A64775B49C77}" dt="2024-11-19T14:28:00.684" v="63" actId="20577"/>
        <pc:sldMkLst>
          <pc:docMk/>
          <pc:sldMk cId="3194331816" sldId="273"/>
        </pc:sldMkLst>
        <pc:spChg chg="mod">
          <ac:chgData name="Mathieu Vallart (SKU)" userId="S::mathieu.vallart@eldoradogold.com::56e3c14d-6563-4ef7-b6de-99b9904107f1" providerId="AD" clId="Web-{6FF9F549-0998-BC20-A338-A64775B49C77}" dt="2024-11-19T14:28:00.684" v="63" actId="20577"/>
          <ac:spMkLst>
            <pc:docMk/>
            <pc:sldMk cId="3194331816" sldId="273"/>
            <ac:spMk id="3" creationId="{50ACF510-8EA5-4605-5503-C5C1F70ABE83}"/>
          </ac:spMkLst>
        </pc:spChg>
        <pc:graphicFrameChg chg="modGraphic">
          <ac:chgData name="Mathieu Vallart (SKU)" userId="S::mathieu.vallart@eldoradogold.com::56e3c14d-6563-4ef7-b6de-99b9904107f1" providerId="AD" clId="Web-{6FF9F549-0998-BC20-A338-A64775B49C77}" dt="2024-11-19T14:26:59.917" v="1" actId="20577"/>
          <ac:graphicFrameMkLst>
            <pc:docMk/>
            <pc:sldMk cId="3194331816" sldId="273"/>
            <ac:graphicFrameMk id="2" creationId="{1A0CEA45-A5D2-8AE2-77F7-17D364F76611}"/>
          </ac:graphicFrameMkLst>
        </pc:graphicFrameChg>
      </pc:sldChg>
    </pc:docChg>
  </pc:docChgLst>
  <pc:docChgLst>
    <pc:chgData name="Natalia Skalkogianni (ATH)" userId="S::natalia.skalkogianni@eldoradogold.com::2bf0de59-3b65-44fe-afa0-adc6e8d32eae" providerId="AD" clId="Web-{25B43F34-5B90-0C9E-0C1B-E3B041EE7E3C}"/>
    <pc:docChg chg="addSld modSld sldOrd modSection">
      <pc:chgData name="Natalia Skalkogianni (ATH)" userId="S::natalia.skalkogianni@eldoradogold.com::2bf0de59-3b65-44fe-afa0-adc6e8d32eae" providerId="AD" clId="Web-{25B43F34-5B90-0C9E-0C1B-E3B041EE7E3C}" dt="2024-11-15T14:28:00.866" v="168"/>
      <pc:docMkLst>
        <pc:docMk/>
      </pc:docMkLst>
      <pc:sldChg chg="modSp">
        <pc:chgData name="Natalia Skalkogianni (ATH)" userId="S::natalia.skalkogianni@eldoradogold.com::2bf0de59-3b65-44fe-afa0-adc6e8d32eae" providerId="AD" clId="Web-{25B43F34-5B90-0C9E-0C1B-E3B041EE7E3C}" dt="2024-11-15T14:24:14.489" v="90" actId="20577"/>
        <pc:sldMkLst>
          <pc:docMk/>
          <pc:sldMk cId="3598442101" sldId="268"/>
        </pc:sldMkLst>
        <pc:graphicFrameChg chg="modGraphic">
          <ac:chgData name="Natalia Skalkogianni (ATH)" userId="S::natalia.skalkogianni@eldoradogold.com::2bf0de59-3b65-44fe-afa0-adc6e8d32eae" providerId="AD" clId="Web-{25B43F34-5B90-0C9E-0C1B-E3B041EE7E3C}" dt="2024-11-15T14:24:14.489" v="90" actId="20577"/>
          <ac:graphicFrameMkLst>
            <pc:docMk/>
            <pc:sldMk cId="3598442101" sldId="268"/>
            <ac:graphicFrameMk id="14" creationId="{C470542F-16A1-52E7-1D85-77ACA41D7352}"/>
          </ac:graphicFrameMkLst>
        </pc:graphicFrameChg>
      </pc:sldChg>
      <pc:sldChg chg="ord">
        <pc:chgData name="Natalia Skalkogianni (ATH)" userId="S::natalia.skalkogianni@eldoradogold.com::2bf0de59-3b65-44fe-afa0-adc6e8d32eae" providerId="AD" clId="Web-{25B43F34-5B90-0C9E-0C1B-E3B041EE7E3C}" dt="2024-11-15T14:19:13.806" v="0"/>
        <pc:sldMkLst>
          <pc:docMk/>
          <pc:sldMk cId="202947801" sldId="274"/>
        </pc:sldMkLst>
      </pc:sldChg>
      <pc:sldChg chg="addSp delSp modSp new mod modClrScheme chgLayout">
        <pc:chgData name="Natalia Skalkogianni (ATH)" userId="S::natalia.skalkogianni@eldoradogold.com::2bf0de59-3b65-44fe-afa0-adc6e8d32eae" providerId="AD" clId="Web-{25B43F34-5B90-0C9E-0C1B-E3B041EE7E3C}" dt="2024-11-15T14:28:00.866" v="168"/>
        <pc:sldMkLst>
          <pc:docMk/>
          <pc:sldMk cId="2448827716" sldId="2145707736"/>
        </pc:sldMkLst>
        <pc:spChg chg="del">
          <ac:chgData name="Natalia Skalkogianni (ATH)" userId="S::natalia.skalkogianni@eldoradogold.com::2bf0de59-3b65-44fe-afa0-adc6e8d32eae" providerId="AD" clId="Web-{25B43F34-5B90-0C9E-0C1B-E3B041EE7E3C}" dt="2024-11-15T14:27:33.038" v="163"/>
          <ac:spMkLst>
            <pc:docMk/>
            <pc:sldMk cId="2448827716" sldId="2145707736"/>
            <ac:spMk id="2" creationId="{27CD43AE-1E56-DFA0-75D1-1DC65C075007}"/>
          </ac:spMkLst>
        </pc:spChg>
        <pc:spChg chg="add del">
          <ac:chgData name="Natalia Skalkogianni (ATH)" userId="S::natalia.skalkogianni@eldoradogold.com::2bf0de59-3b65-44fe-afa0-adc6e8d32eae" providerId="AD" clId="Web-{25B43F34-5B90-0C9E-0C1B-E3B041EE7E3C}" dt="2024-11-15T14:28:00.866" v="168"/>
          <ac:spMkLst>
            <pc:docMk/>
            <pc:sldMk cId="2448827716" sldId="2145707736"/>
            <ac:spMk id="3" creationId="{91C155F0-0B19-78F7-5EB8-43AEA8EC6CAA}"/>
          </ac:spMkLst>
        </pc:spChg>
        <pc:spChg chg="mod">
          <ac:chgData name="Natalia Skalkogianni (ATH)" userId="S::natalia.skalkogianni@eldoradogold.com::2bf0de59-3b65-44fe-afa0-adc6e8d32eae" providerId="AD" clId="Web-{25B43F34-5B90-0C9E-0C1B-E3B041EE7E3C}" dt="2024-11-15T14:28:00.866" v="168"/>
          <ac:spMkLst>
            <pc:docMk/>
            <pc:sldMk cId="2448827716" sldId="2145707736"/>
            <ac:spMk id="4" creationId="{AD703E34-2E70-D0E2-6E04-D8CE003A9934}"/>
          </ac:spMkLst>
        </pc:spChg>
        <pc:spChg chg="mod">
          <ac:chgData name="Natalia Skalkogianni (ATH)" userId="S::natalia.skalkogianni@eldoradogold.com::2bf0de59-3b65-44fe-afa0-adc6e8d32eae" providerId="AD" clId="Web-{25B43F34-5B90-0C9E-0C1B-E3B041EE7E3C}" dt="2024-11-15T14:28:00.866" v="168"/>
          <ac:spMkLst>
            <pc:docMk/>
            <pc:sldMk cId="2448827716" sldId="2145707736"/>
            <ac:spMk id="5" creationId="{DDFE6179-429C-ECAD-FDA5-42926051E0C9}"/>
          </ac:spMkLst>
        </pc:spChg>
        <pc:spChg chg="add del mod">
          <ac:chgData name="Natalia Skalkogianni (ATH)" userId="S::natalia.skalkogianni@eldoradogold.com::2bf0de59-3b65-44fe-afa0-adc6e8d32eae" providerId="AD" clId="Web-{25B43F34-5B90-0C9E-0C1B-E3B041EE7E3C}" dt="2024-11-15T14:27:45.741" v="165"/>
          <ac:spMkLst>
            <pc:docMk/>
            <pc:sldMk cId="2448827716" sldId="2145707736"/>
            <ac:spMk id="11" creationId="{144DD42A-6B40-2275-32E6-DC5A08E4138C}"/>
          </ac:spMkLst>
        </pc:spChg>
        <pc:spChg chg="add del mod">
          <ac:chgData name="Natalia Skalkogianni (ATH)" userId="S::natalia.skalkogianni@eldoradogold.com::2bf0de59-3b65-44fe-afa0-adc6e8d32eae" providerId="AD" clId="Web-{25B43F34-5B90-0C9E-0C1B-E3B041EE7E3C}" dt="2024-11-15T14:27:45.741" v="165"/>
          <ac:spMkLst>
            <pc:docMk/>
            <pc:sldMk cId="2448827716" sldId="2145707736"/>
            <ac:spMk id="13" creationId="{E7F4FF4C-624E-2FCD-FEDA-548CD9BD8A76}"/>
          </ac:spMkLst>
        </pc:spChg>
        <pc:spChg chg="add del mod">
          <ac:chgData name="Natalia Skalkogianni (ATH)" userId="S::natalia.skalkogianni@eldoradogold.com::2bf0de59-3b65-44fe-afa0-adc6e8d32eae" providerId="AD" clId="Web-{25B43F34-5B90-0C9E-0C1B-E3B041EE7E3C}" dt="2024-11-15T14:28:00.850" v="167"/>
          <ac:spMkLst>
            <pc:docMk/>
            <pc:sldMk cId="2448827716" sldId="2145707736"/>
            <ac:spMk id="15" creationId="{812C44BC-FFD2-F151-1442-C5568DC90500}"/>
          </ac:spMkLst>
        </pc:spChg>
        <pc:picChg chg="add mod ord">
          <ac:chgData name="Natalia Skalkogianni (ATH)" userId="S::natalia.skalkogianni@eldoradogold.com::2bf0de59-3b65-44fe-afa0-adc6e8d32eae" providerId="AD" clId="Web-{25B43F34-5B90-0C9E-0C1B-E3B041EE7E3C}" dt="2024-11-15T14:28:00.866" v="168"/>
          <ac:picMkLst>
            <pc:docMk/>
            <pc:sldMk cId="2448827716" sldId="2145707736"/>
            <ac:picMk id="6" creationId="{8D8B524F-67E4-2504-B550-451B69F72612}"/>
          </ac:picMkLst>
        </pc:picChg>
      </pc:sldChg>
    </pc:docChg>
  </pc:docChgLst>
  <pc:docChgLst>
    <pc:chgData name="Mathieu Vallart (SKU)" userId="56e3c14d-6563-4ef7-b6de-99b9904107f1" providerId="ADAL" clId="{2B5752C5-6F56-4488-94C8-7E53D65032B4}"/>
    <pc:docChg chg="undo custSel addSld delSld modSld addSection modSection">
      <pc:chgData name="Mathieu Vallart (SKU)" userId="56e3c14d-6563-4ef7-b6de-99b9904107f1" providerId="ADAL" clId="{2B5752C5-6F56-4488-94C8-7E53D65032B4}" dt="2024-11-19T09:05:57.668" v="1021" actId="729"/>
      <pc:docMkLst>
        <pc:docMk/>
      </pc:docMkLst>
      <pc:sldChg chg="addSp delSp modSp mod">
        <pc:chgData name="Mathieu Vallart (SKU)" userId="56e3c14d-6563-4ef7-b6de-99b9904107f1" providerId="ADAL" clId="{2B5752C5-6F56-4488-94C8-7E53D65032B4}" dt="2024-11-18T18:27:27.735" v="384" actId="1076"/>
        <pc:sldMkLst>
          <pc:docMk/>
          <pc:sldMk cId="2502141173" sldId="267"/>
        </pc:sldMkLst>
        <pc:spChg chg="add mod">
          <ac:chgData name="Mathieu Vallart (SKU)" userId="56e3c14d-6563-4ef7-b6de-99b9904107f1" providerId="ADAL" clId="{2B5752C5-6F56-4488-94C8-7E53D65032B4}" dt="2024-11-18T18:26:28.958" v="350" actId="113"/>
          <ac:spMkLst>
            <pc:docMk/>
            <pc:sldMk cId="2502141173" sldId="267"/>
            <ac:spMk id="2" creationId="{FDB3EB9F-84EF-3A5D-E097-F0C698E4314C}"/>
          </ac:spMkLst>
        </pc:spChg>
        <pc:spChg chg="add mod">
          <ac:chgData name="Mathieu Vallart (SKU)" userId="56e3c14d-6563-4ef7-b6de-99b9904107f1" providerId="ADAL" clId="{2B5752C5-6F56-4488-94C8-7E53D65032B4}" dt="2024-11-18T18:27:05.493" v="380" actId="207"/>
          <ac:spMkLst>
            <pc:docMk/>
            <pc:sldMk cId="2502141173" sldId="267"/>
            <ac:spMk id="6" creationId="{6415D4FA-A03E-7893-D009-77234C90E9A6}"/>
          </ac:spMkLst>
        </pc:spChg>
        <pc:spChg chg="mod">
          <ac:chgData name="Mathieu Vallart (SKU)" userId="56e3c14d-6563-4ef7-b6de-99b9904107f1" providerId="ADAL" clId="{2B5752C5-6F56-4488-94C8-7E53D65032B4}" dt="2024-11-18T16:35:47.960" v="189" actId="113"/>
          <ac:spMkLst>
            <pc:docMk/>
            <pc:sldMk cId="2502141173" sldId="267"/>
            <ac:spMk id="8" creationId="{AEF560EB-2193-C8FF-BC0C-FC1AFF53A782}"/>
          </ac:spMkLst>
        </pc:spChg>
        <pc:spChg chg="del mod">
          <ac:chgData name="Mathieu Vallart (SKU)" userId="56e3c14d-6563-4ef7-b6de-99b9904107f1" providerId="ADAL" clId="{2B5752C5-6F56-4488-94C8-7E53D65032B4}" dt="2024-11-18T18:27:08.586" v="381" actId="478"/>
          <ac:spMkLst>
            <pc:docMk/>
            <pc:sldMk cId="2502141173" sldId="267"/>
            <ac:spMk id="10" creationId="{559A65A6-2A13-DBA1-D38C-E30F0592C5F2}"/>
          </ac:spMkLst>
        </pc:spChg>
        <pc:graphicFrameChg chg="mod">
          <ac:chgData name="Mathieu Vallart (SKU)" userId="56e3c14d-6563-4ef7-b6de-99b9904107f1" providerId="ADAL" clId="{2B5752C5-6F56-4488-94C8-7E53D65032B4}" dt="2024-11-18T16:34:49.026" v="176"/>
          <ac:graphicFrameMkLst>
            <pc:docMk/>
            <pc:sldMk cId="2502141173" sldId="267"/>
            <ac:graphicFrameMk id="7" creationId="{D6F40C42-AC19-1B37-1A28-E1115D960468}"/>
          </ac:graphicFrameMkLst>
        </pc:graphicFrameChg>
        <pc:picChg chg="mod">
          <ac:chgData name="Mathieu Vallart (SKU)" userId="56e3c14d-6563-4ef7-b6de-99b9904107f1" providerId="ADAL" clId="{2B5752C5-6F56-4488-94C8-7E53D65032B4}" dt="2024-11-18T18:27:27.735" v="384" actId="1076"/>
          <ac:picMkLst>
            <pc:docMk/>
            <pc:sldMk cId="2502141173" sldId="267"/>
            <ac:picMk id="9" creationId="{DCDB0002-15DF-7A2F-FF11-C13E22B72B48}"/>
          </ac:picMkLst>
        </pc:picChg>
      </pc:sldChg>
      <pc:sldChg chg="modSp">
        <pc:chgData name="Mathieu Vallart (SKU)" userId="56e3c14d-6563-4ef7-b6de-99b9904107f1" providerId="ADAL" clId="{2B5752C5-6F56-4488-94C8-7E53D65032B4}" dt="2024-11-19T08:42:50.957" v="845" actId="20577"/>
        <pc:sldMkLst>
          <pc:docMk/>
          <pc:sldMk cId="2534270834" sldId="269"/>
        </pc:sldMkLst>
        <pc:spChg chg="mod">
          <ac:chgData name="Mathieu Vallart (SKU)" userId="56e3c14d-6563-4ef7-b6de-99b9904107f1" providerId="ADAL" clId="{2B5752C5-6F56-4488-94C8-7E53D65032B4}" dt="2024-11-19T08:42:23.028" v="827"/>
          <ac:spMkLst>
            <pc:docMk/>
            <pc:sldMk cId="2534270834" sldId="269"/>
            <ac:spMk id="3" creationId="{0E77A3F4-FEF6-5248-C0AB-983A661B3D01}"/>
          </ac:spMkLst>
        </pc:spChg>
        <pc:graphicFrameChg chg="mod">
          <ac:chgData name="Mathieu Vallart (SKU)" userId="56e3c14d-6563-4ef7-b6de-99b9904107f1" providerId="ADAL" clId="{2B5752C5-6F56-4488-94C8-7E53D65032B4}" dt="2024-11-19T08:42:50.957" v="845" actId="20577"/>
          <ac:graphicFrameMkLst>
            <pc:docMk/>
            <pc:sldMk cId="2534270834" sldId="269"/>
            <ac:graphicFrameMk id="7" creationId="{43B9C5EF-E1CA-3E6C-EC94-5BDED359BFEE}"/>
          </ac:graphicFrameMkLst>
        </pc:graphicFrameChg>
      </pc:sldChg>
      <pc:sldChg chg="del">
        <pc:chgData name="Mathieu Vallart (SKU)" userId="56e3c14d-6563-4ef7-b6de-99b9904107f1" providerId="ADAL" clId="{2B5752C5-6F56-4488-94C8-7E53D65032B4}" dt="2024-11-19T08:57:32.866" v="921" actId="47"/>
        <pc:sldMkLst>
          <pc:docMk/>
          <pc:sldMk cId="3612794171" sldId="270"/>
        </pc:sldMkLst>
      </pc:sldChg>
      <pc:sldChg chg="del">
        <pc:chgData name="Mathieu Vallart (SKU)" userId="56e3c14d-6563-4ef7-b6de-99b9904107f1" providerId="ADAL" clId="{2B5752C5-6F56-4488-94C8-7E53D65032B4}" dt="2024-11-19T09:01:37.550" v="923" actId="47"/>
        <pc:sldMkLst>
          <pc:docMk/>
          <pc:sldMk cId="3787377941" sldId="271"/>
        </pc:sldMkLst>
      </pc:sldChg>
      <pc:sldChg chg="modSp">
        <pc:chgData name="Mathieu Vallart (SKU)" userId="56e3c14d-6563-4ef7-b6de-99b9904107f1" providerId="ADAL" clId="{2B5752C5-6F56-4488-94C8-7E53D65032B4}" dt="2024-11-19T08:44:48.291" v="920" actId="20577"/>
        <pc:sldMkLst>
          <pc:docMk/>
          <pc:sldMk cId="251721847" sldId="272"/>
        </pc:sldMkLst>
        <pc:spChg chg="mod">
          <ac:chgData name="Mathieu Vallart (SKU)" userId="56e3c14d-6563-4ef7-b6de-99b9904107f1" providerId="ADAL" clId="{2B5752C5-6F56-4488-94C8-7E53D65032B4}" dt="2024-11-19T08:43:22.899" v="847"/>
          <ac:spMkLst>
            <pc:docMk/>
            <pc:sldMk cId="251721847" sldId="272"/>
            <ac:spMk id="3" creationId="{44D0A738-34E6-E013-7F61-32D13989E900}"/>
          </ac:spMkLst>
        </pc:spChg>
        <pc:graphicFrameChg chg="mod">
          <ac:chgData name="Mathieu Vallart (SKU)" userId="56e3c14d-6563-4ef7-b6de-99b9904107f1" providerId="ADAL" clId="{2B5752C5-6F56-4488-94C8-7E53D65032B4}" dt="2024-11-19T08:44:48.291" v="920" actId="20577"/>
          <ac:graphicFrameMkLst>
            <pc:docMk/>
            <pc:sldMk cId="251721847" sldId="272"/>
            <ac:graphicFrameMk id="7" creationId="{4AC9B7FB-D18F-4C95-44DB-4F2D3D1CFED7}"/>
          </ac:graphicFrameMkLst>
        </pc:graphicFrameChg>
      </pc:sldChg>
      <pc:sldChg chg="modSp mod">
        <pc:chgData name="Mathieu Vallart (SKU)" userId="56e3c14d-6563-4ef7-b6de-99b9904107f1" providerId="ADAL" clId="{2B5752C5-6F56-4488-94C8-7E53D65032B4}" dt="2024-11-18T16:23:55.837" v="142" actId="20577"/>
        <pc:sldMkLst>
          <pc:docMk/>
          <pc:sldMk cId="1871995062" sldId="275"/>
        </pc:sldMkLst>
        <pc:spChg chg="mod">
          <ac:chgData name="Mathieu Vallart (SKU)" userId="56e3c14d-6563-4ef7-b6de-99b9904107f1" providerId="ADAL" clId="{2B5752C5-6F56-4488-94C8-7E53D65032B4}" dt="2024-11-18T16:23:12.666" v="131" actId="1076"/>
          <ac:spMkLst>
            <pc:docMk/>
            <pc:sldMk cId="1871995062" sldId="275"/>
            <ac:spMk id="73" creationId="{6A3F753B-4637-2970-A80E-1262650D9D58}"/>
          </ac:spMkLst>
        </pc:spChg>
        <pc:spChg chg="mod">
          <ac:chgData name="Mathieu Vallart (SKU)" userId="56e3c14d-6563-4ef7-b6de-99b9904107f1" providerId="ADAL" clId="{2B5752C5-6F56-4488-94C8-7E53D65032B4}" dt="2024-11-18T16:23:12.666" v="131" actId="1076"/>
          <ac:spMkLst>
            <pc:docMk/>
            <pc:sldMk cId="1871995062" sldId="275"/>
            <ac:spMk id="74" creationId="{321D99D0-107F-3A73-6997-F7D4D7AB0C39}"/>
          </ac:spMkLst>
        </pc:spChg>
        <pc:spChg chg="mod">
          <ac:chgData name="Mathieu Vallart (SKU)" userId="56e3c14d-6563-4ef7-b6de-99b9904107f1" providerId="ADAL" clId="{2B5752C5-6F56-4488-94C8-7E53D65032B4}" dt="2024-11-18T16:23:12.666" v="131" actId="1076"/>
          <ac:spMkLst>
            <pc:docMk/>
            <pc:sldMk cId="1871995062" sldId="275"/>
            <ac:spMk id="75" creationId="{DCCFF346-3BBF-9B4F-FCF4-C90B4CDD7BA1}"/>
          </ac:spMkLst>
        </pc:spChg>
        <pc:spChg chg="mod">
          <ac:chgData name="Mathieu Vallart (SKU)" userId="56e3c14d-6563-4ef7-b6de-99b9904107f1" providerId="ADAL" clId="{2B5752C5-6F56-4488-94C8-7E53D65032B4}" dt="2024-11-18T16:23:12.666" v="131" actId="1076"/>
          <ac:spMkLst>
            <pc:docMk/>
            <pc:sldMk cId="1871995062" sldId="275"/>
            <ac:spMk id="76" creationId="{3D1CE2B1-30E3-456B-1827-93C51D396D8E}"/>
          </ac:spMkLst>
        </pc:spChg>
        <pc:spChg chg="mod">
          <ac:chgData name="Mathieu Vallart (SKU)" userId="56e3c14d-6563-4ef7-b6de-99b9904107f1" providerId="ADAL" clId="{2B5752C5-6F56-4488-94C8-7E53D65032B4}" dt="2024-11-18T16:23:12.666" v="131" actId="1076"/>
          <ac:spMkLst>
            <pc:docMk/>
            <pc:sldMk cId="1871995062" sldId="275"/>
            <ac:spMk id="79" creationId="{D294E0CF-946C-3A08-9E9A-4BCD225526C0}"/>
          </ac:spMkLst>
        </pc:spChg>
        <pc:spChg chg="mod">
          <ac:chgData name="Mathieu Vallart (SKU)" userId="56e3c14d-6563-4ef7-b6de-99b9904107f1" providerId="ADAL" clId="{2B5752C5-6F56-4488-94C8-7E53D65032B4}" dt="2024-11-18T16:23:12.666" v="131" actId="1076"/>
          <ac:spMkLst>
            <pc:docMk/>
            <pc:sldMk cId="1871995062" sldId="275"/>
            <ac:spMk id="80" creationId="{01469C6E-57AA-EB8D-DD50-BFD0871D5FA2}"/>
          </ac:spMkLst>
        </pc:spChg>
        <pc:spChg chg="mod">
          <ac:chgData name="Mathieu Vallart (SKU)" userId="56e3c14d-6563-4ef7-b6de-99b9904107f1" providerId="ADAL" clId="{2B5752C5-6F56-4488-94C8-7E53D65032B4}" dt="2024-11-18T16:23:12.666" v="131" actId="1076"/>
          <ac:spMkLst>
            <pc:docMk/>
            <pc:sldMk cId="1871995062" sldId="275"/>
            <ac:spMk id="81" creationId="{ADB4B4D6-793E-169C-43CD-69FE416D5E1B}"/>
          </ac:spMkLst>
        </pc:spChg>
        <pc:spChg chg="mod">
          <ac:chgData name="Mathieu Vallart (SKU)" userId="56e3c14d-6563-4ef7-b6de-99b9904107f1" providerId="ADAL" clId="{2B5752C5-6F56-4488-94C8-7E53D65032B4}" dt="2024-11-18T16:23:55.837" v="142" actId="20577"/>
          <ac:spMkLst>
            <pc:docMk/>
            <pc:sldMk cId="1871995062" sldId="275"/>
            <ac:spMk id="88" creationId="{6EA4379F-AF59-AB97-714B-23056211AF17}"/>
          </ac:spMkLst>
        </pc:spChg>
        <pc:picChg chg="mod">
          <ac:chgData name="Mathieu Vallart (SKU)" userId="56e3c14d-6563-4ef7-b6de-99b9904107f1" providerId="ADAL" clId="{2B5752C5-6F56-4488-94C8-7E53D65032B4}" dt="2024-11-18T16:23:12.666" v="131" actId="1076"/>
          <ac:picMkLst>
            <pc:docMk/>
            <pc:sldMk cId="1871995062" sldId="275"/>
            <ac:picMk id="6" creationId="{0C83C4A1-D8F4-BBF0-6D59-7FC0FCD33078}"/>
          </ac:picMkLst>
        </pc:picChg>
        <pc:picChg chg="mod">
          <ac:chgData name="Mathieu Vallart (SKU)" userId="56e3c14d-6563-4ef7-b6de-99b9904107f1" providerId="ADAL" clId="{2B5752C5-6F56-4488-94C8-7E53D65032B4}" dt="2024-11-18T16:23:12.666" v="131" actId="1076"/>
          <ac:picMkLst>
            <pc:docMk/>
            <pc:sldMk cId="1871995062" sldId="275"/>
            <ac:picMk id="7" creationId="{ECC43A9A-F767-1BD4-62E9-B809C6A917E8}"/>
          </ac:picMkLst>
        </pc:picChg>
        <pc:picChg chg="mod">
          <ac:chgData name="Mathieu Vallart (SKU)" userId="56e3c14d-6563-4ef7-b6de-99b9904107f1" providerId="ADAL" clId="{2B5752C5-6F56-4488-94C8-7E53D65032B4}" dt="2024-11-18T16:23:12.666" v="131" actId="1076"/>
          <ac:picMkLst>
            <pc:docMk/>
            <pc:sldMk cId="1871995062" sldId="275"/>
            <ac:picMk id="69" creationId="{3B714017-FE90-CB35-85AC-911C48E748EE}"/>
          </ac:picMkLst>
        </pc:picChg>
        <pc:picChg chg="mod">
          <ac:chgData name="Mathieu Vallart (SKU)" userId="56e3c14d-6563-4ef7-b6de-99b9904107f1" providerId="ADAL" clId="{2B5752C5-6F56-4488-94C8-7E53D65032B4}" dt="2024-11-18T16:23:12.666" v="131" actId="1076"/>
          <ac:picMkLst>
            <pc:docMk/>
            <pc:sldMk cId="1871995062" sldId="275"/>
            <ac:picMk id="71" creationId="{57EB886E-3894-1C2F-3F40-841997AF0DC2}"/>
          </ac:picMkLst>
        </pc:picChg>
        <pc:picChg chg="mod">
          <ac:chgData name="Mathieu Vallart (SKU)" userId="56e3c14d-6563-4ef7-b6de-99b9904107f1" providerId="ADAL" clId="{2B5752C5-6F56-4488-94C8-7E53D65032B4}" dt="2024-11-18T16:23:12.666" v="131" actId="1076"/>
          <ac:picMkLst>
            <pc:docMk/>
            <pc:sldMk cId="1871995062" sldId="275"/>
            <ac:picMk id="72" creationId="{27021394-A60C-E8B7-0B7B-DB0ACC6261A3}"/>
          </ac:picMkLst>
        </pc:picChg>
        <pc:picChg chg="mod">
          <ac:chgData name="Mathieu Vallart (SKU)" userId="56e3c14d-6563-4ef7-b6de-99b9904107f1" providerId="ADAL" clId="{2B5752C5-6F56-4488-94C8-7E53D65032B4}" dt="2024-11-18T16:23:12.666" v="131" actId="1076"/>
          <ac:picMkLst>
            <pc:docMk/>
            <pc:sldMk cId="1871995062" sldId="275"/>
            <ac:picMk id="77" creationId="{A1D98D45-DE3A-8A59-8384-1FE269DBF435}"/>
          </ac:picMkLst>
        </pc:picChg>
        <pc:picChg chg="mod">
          <ac:chgData name="Mathieu Vallart (SKU)" userId="56e3c14d-6563-4ef7-b6de-99b9904107f1" providerId="ADAL" clId="{2B5752C5-6F56-4488-94C8-7E53D65032B4}" dt="2024-11-18T16:23:12.666" v="131" actId="1076"/>
          <ac:picMkLst>
            <pc:docMk/>
            <pc:sldMk cId="1871995062" sldId="275"/>
            <ac:picMk id="78" creationId="{AE853C01-AEF5-344C-6635-5216BA402031}"/>
          </ac:picMkLst>
        </pc:picChg>
      </pc:sldChg>
      <pc:sldChg chg="addSp delSp modSp mod modShow">
        <pc:chgData name="Mathieu Vallart (SKU)" userId="56e3c14d-6563-4ef7-b6de-99b9904107f1" providerId="ADAL" clId="{2B5752C5-6F56-4488-94C8-7E53D65032B4}" dt="2024-11-19T09:05:57.668" v="1021" actId="729"/>
        <pc:sldMkLst>
          <pc:docMk/>
          <pc:sldMk cId="3793366665" sldId="2145707561"/>
        </pc:sldMkLst>
        <pc:spChg chg="mod">
          <ac:chgData name="Mathieu Vallart (SKU)" userId="56e3c14d-6563-4ef7-b6de-99b9904107f1" providerId="ADAL" clId="{2B5752C5-6F56-4488-94C8-7E53D65032B4}" dt="2024-11-19T08:40:49.327" v="801"/>
          <ac:spMkLst>
            <pc:docMk/>
            <pc:sldMk cId="3793366665" sldId="2145707561"/>
            <ac:spMk id="2" creationId="{119A534E-97D9-E111-EEF5-E5F990406697}"/>
          </ac:spMkLst>
        </pc:spChg>
        <pc:spChg chg="mod">
          <ac:chgData name="Mathieu Vallart (SKU)" userId="56e3c14d-6563-4ef7-b6de-99b9904107f1" providerId="ADAL" clId="{2B5752C5-6F56-4488-94C8-7E53D65032B4}" dt="2024-11-19T08:41:41.587" v="824" actId="14100"/>
          <ac:spMkLst>
            <pc:docMk/>
            <pc:sldMk cId="3793366665" sldId="2145707561"/>
            <ac:spMk id="17430" creationId="{831966FF-B2A8-0C72-4075-2928EC6CE50C}"/>
          </ac:spMkLst>
        </pc:spChg>
        <pc:graphicFrameChg chg="add del mod">
          <ac:chgData name="Mathieu Vallart (SKU)" userId="56e3c14d-6563-4ef7-b6de-99b9904107f1" providerId="ADAL" clId="{2B5752C5-6F56-4488-94C8-7E53D65032B4}" dt="2024-11-19T08:41:20.428" v="822" actId="1038"/>
          <ac:graphicFrameMkLst>
            <pc:docMk/>
            <pc:sldMk cId="3793366665" sldId="2145707561"/>
            <ac:graphicFrameMk id="5" creationId="{53B08F1D-8821-CABE-4DA9-2F5530CC3955}"/>
          </ac:graphicFrameMkLst>
        </pc:graphicFrameChg>
        <pc:picChg chg="mod">
          <ac:chgData name="Mathieu Vallart (SKU)" userId="56e3c14d-6563-4ef7-b6de-99b9904107f1" providerId="ADAL" clId="{2B5752C5-6F56-4488-94C8-7E53D65032B4}" dt="2024-11-19T08:41:20.428" v="822" actId="1038"/>
          <ac:picMkLst>
            <pc:docMk/>
            <pc:sldMk cId="3793366665" sldId="2145707561"/>
            <ac:picMk id="7" creationId="{35C47E62-18EB-667B-EB2C-300D5C02C96F}"/>
          </ac:picMkLst>
        </pc:picChg>
        <pc:picChg chg="mod">
          <ac:chgData name="Mathieu Vallart (SKU)" userId="56e3c14d-6563-4ef7-b6de-99b9904107f1" providerId="ADAL" clId="{2B5752C5-6F56-4488-94C8-7E53D65032B4}" dt="2024-11-19T08:41:50.106" v="825" actId="1076"/>
          <ac:picMkLst>
            <pc:docMk/>
            <pc:sldMk cId="3793366665" sldId="2145707561"/>
            <ac:picMk id="8" creationId="{117DF3E9-D811-C54F-369B-8DE070FAD261}"/>
          </ac:picMkLst>
        </pc:picChg>
      </pc:sldChg>
      <pc:sldChg chg="addSp delSp modSp mod">
        <pc:chgData name="Mathieu Vallart (SKU)" userId="56e3c14d-6563-4ef7-b6de-99b9904107f1" providerId="ADAL" clId="{2B5752C5-6F56-4488-94C8-7E53D65032B4}" dt="2024-11-19T09:05:33.361" v="1016" actId="478"/>
        <pc:sldMkLst>
          <pc:docMk/>
          <pc:sldMk cId="1163970992" sldId="2145707580"/>
        </pc:sldMkLst>
        <pc:spChg chg="add del mod">
          <ac:chgData name="Mathieu Vallart (SKU)" userId="56e3c14d-6563-4ef7-b6de-99b9904107f1" providerId="ADAL" clId="{2B5752C5-6F56-4488-94C8-7E53D65032B4}" dt="2024-11-19T09:05:33.361" v="1016" actId="478"/>
          <ac:spMkLst>
            <pc:docMk/>
            <pc:sldMk cId="1163970992" sldId="2145707580"/>
            <ac:spMk id="2" creationId="{0B3CBF10-BE84-5966-D29A-2AE95238DDE8}"/>
          </ac:spMkLst>
        </pc:spChg>
        <pc:spChg chg="mod">
          <ac:chgData name="Mathieu Vallart (SKU)" userId="56e3c14d-6563-4ef7-b6de-99b9904107f1" providerId="ADAL" clId="{2B5752C5-6F56-4488-94C8-7E53D65032B4}" dt="2024-11-19T08:26:49.917" v="580"/>
          <ac:spMkLst>
            <pc:docMk/>
            <pc:sldMk cId="1163970992" sldId="2145707580"/>
            <ac:spMk id="6" creationId="{8D9BF6DF-4ADB-4950-BDCB-936F91049F0F}"/>
          </ac:spMkLst>
        </pc:spChg>
        <pc:spChg chg="mod">
          <ac:chgData name="Mathieu Vallart (SKU)" userId="56e3c14d-6563-4ef7-b6de-99b9904107f1" providerId="ADAL" clId="{2B5752C5-6F56-4488-94C8-7E53D65032B4}" dt="2024-11-19T09:03:43.221" v="974" actId="1076"/>
          <ac:spMkLst>
            <pc:docMk/>
            <pc:sldMk cId="1163970992" sldId="2145707580"/>
            <ac:spMk id="26" creationId="{DD1E62F5-81D0-42BD-F9B1-67AB52561B7A}"/>
          </ac:spMkLst>
        </pc:spChg>
        <pc:spChg chg="mod">
          <ac:chgData name="Mathieu Vallart (SKU)" userId="56e3c14d-6563-4ef7-b6de-99b9904107f1" providerId="ADAL" clId="{2B5752C5-6F56-4488-94C8-7E53D65032B4}" dt="2024-11-19T09:03:43.221" v="974" actId="1076"/>
          <ac:spMkLst>
            <pc:docMk/>
            <pc:sldMk cId="1163970992" sldId="2145707580"/>
            <ac:spMk id="35" creationId="{B7FB96D6-A92C-8975-6E6C-D26C831831E0}"/>
          </ac:spMkLst>
        </pc:spChg>
        <pc:spChg chg="mod">
          <ac:chgData name="Mathieu Vallart (SKU)" userId="56e3c14d-6563-4ef7-b6de-99b9904107f1" providerId="ADAL" clId="{2B5752C5-6F56-4488-94C8-7E53D65032B4}" dt="2024-11-19T09:03:43.221" v="974" actId="1076"/>
          <ac:spMkLst>
            <pc:docMk/>
            <pc:sldMk cId="1163970992" sldId="2145707580"/>
            <ac:spMk id="55" creationId="{15D6C50F-240B-053F-A219-F2DC71B90907}"/>
          </ac:spMkLst>
        </pc:spChg>
        <pc:spChg chg="mod">
          <ac:chgData name="Mathieu Vallart (SKU)" userId="56e3c14d-6563-4ef7-b6de-99b9904107f1" providerId="ADAL" clId="{2B5752C5-6F56-4488-94C8-7E53D65032B4}" dt="2024-11-19T09:03:43.221" v="974" actId="1076"/>
          <ac:spMkLst>
            <pc:docMk/>
            <pc:sldMk cId="1163970992" sldId="2145707580"/>
            <ac:spMk id="68" creationId="{3630AC04-282E-978C-DF28-32EBAA2415C4}"/>
          </ac:spMkLst>
        </pc:spChg>
        <pc:spChg chg="mod">
          <ac:chgData name="Mathieu Vallart (SKU)" userId="56e3c14d-6563-4ef7-b6de-99b9904107f1" providerId="ADAL" clId="{2B5752C5-6F56-4488-94C8-7E53D65032B4}" dt="2024-11-19T09:03:43.221" v="974" actId="1076"/>
          <ac:spMkLst>
            <pc:docMk/>
            <pc:sldMk cId="1163970992" sldId="2145707580"/>
            <ac:spMk id="76" creationId="{8DDAFADD-78BB-33D6-C245-E38FC6FD4B94}"/>
          </ac:spMkLst>
        </pc:spChg>
        <pc:spChg chg="mod">
          <ac:chgData name="Mathieu Vallart (SKU)" userId="56e3c14d-6563-4ef7-b6de-99b9904107f1" providerId="ADAL" clId="{2B5752C5-6F56-4488-94C8-7E53D65032B4}" dt="2024-11-19T09:04:21.752" v="1011"/>
          <ac:spMkLst>
            <pc:docMk/>
            <pc:sldMk cId="1163970992" sldId="2145707580"/>
            <ac:spMk id="95" creationId="{35B1B7C3-6977-6761-F55C-A322E19CF6EA}"/>
          </ac:spMkLst>
        </pc:spChg>
        <pc:grpChg chg="mod">
          <ac:chgData name="Mathieu Vallart (SKU)" userId="56e3c14d-6563-4ef7-b6de-99b9904107f1" providerId="ADAL" clId="{2B5752C5-6F56-4488-94C8-7E53D65032B4}" dt="2024-11-19T09:03:43.221" v="974" actId="1076"/>
          <ac:grpSpMkLst>
            <pc:docMk/>
            <pc:sldMk cId="1163970992" sldId="2145707580"/>
            <ac:grpSpMk id="13" creationId="{93B916AF-704D-32D1-172C-18F5CA1FFC33}"/>
          </ac:grpSpMkLst>
        </pc:grpChg>
        <pc:grpChg chg="mod">
          <ac:chgData name="Mathieu Vallart (SKU)" userId="56e3c14d-6563-4ef7-b6de-99b9904107f1" providerId="ADAL" clId="{2B5752C5-6F56-4488-94C8-7E53D65032B4}" dt="2024-11-19T09:03:43.221" v="974" actId="1076"/>
          <ac:grpSpMkLst>
            <pc:docMk/>
            <pc:sldMk cId="1163970992" sldId="2145707580"/>
            <ac:grpSpMk id="31" creationId="{9C3F78FB-2B1D-F659-7FE7-0F92886CE20B}"/>
          </ac:grpSpMkLst>
        </pc:grpChg>
        <pc:grpChg chg="mod">
          <ac:chgData name="Mathieu Vallart (SKU)" userId="56e3c14d-6563-4ef7-b6de-99b9904107f1" providerId="ADAL" clId="{2B5752C5-6F56-4488-94C8-7E53D65032B4}" dt="2024-11-19T09:03:43.221" v="974" actId="1076"/>
          <ac:grpSpMkLst>
            <pc:docMk/>
            <pc:sldMk cId="1163970992" sldId="2145707580"/>
            <ac:grpSpMk id="36" creationId="{4FEB6CC1-D65B-8C46-B9BC-E5EAE597C4E5}"/>
          </ac:grpSpMkLst>
        </pc:grpChg>
        <pc:grpChg chg="mod">
          <ac:chgData name="Mathieu Vallart (SKU)" userId="56e3c14d-6563-4ef7-b6de-99b9904107f1" providerId="ADAL" clId="{2B5752C5-6F56-4488-94C8-7E53D65032B4}" dt="2024-11-19T09:03:43.221" v="974" actId="1076"/>
          <ac:grpSpMkLst>
            <pc:docMk/>
            <pc:sldMk cId="1163970992" sldId="2145707580"/>
            <ac:grpSpMk id="62" creationId="{38BEE4FD-43DB-37DB-7DDC-FF1AA413EF7E}"/>
          </ac:grpSpMkLst>
        </pc:grpChg>
        <pc:grpChg chg="mod">
          <ac:chgData name="Mathieu Vallart (SKU)" userId="56e3c14d-6563-4ef7-b6de-99b9904107f1" providerId="ADAL" clId="{2B5752C5-6F56-4488-94C8-7E53D65032B4}" dt="2024-11-19T09:03:43.221" v="974" actId="1076"/>
          <ac:grpSpMkLst>
            <pc:docMk/>
            <pc:sldMk cId="1163970992" sldId="2145707580"/>
            <ac:grpSpMk id="77" creationId="{88236D92-2A2D-0A8C-B6DE-18E9812D9332}"/>
          </ac:grpSpMkLst>
        </pc:grpChg>
      </pc:sldChg>
      <pc:sldChg chg="modSp del mod">
        <pc:chgData name="Mathieu Vallart (SKU)" userId="56e3c14d-6563-4ef7-b6de-99b9904107f1" providerId="ADAL" clId="{2B5752C5-6F56-4488-94C8-7E53D65032B4}" dt="2024-11-19T08:58:22.605" v="922" actId="47"/>
        <pc:sldMkLst>
          <pc:docMk/>
          <pc:sldMk cId="2448827716" sldId="2145707736"/>
        </pc:sldMkLst>
        <pc:spChg chg="mod">
          <ac:chgData name="Mathieu Vallart (SKU)" userId="56e3c14d-6563-4ef7-b6de-99b9904107f1" providerId="ADAL" clId="{2B5752C5-6F56-4488-94C8-7E53D65032B4}" dt="2024-11-19T08:25:07.077" v="482" actId="20577"/>
          <ac:spMkLst>
            <pc:docMk/>
            <pc:sldMk cId="2448827716" sldId="2145707736"/>
            <ac:spMk id="2" creationId="{55CA005D-20A3-A294-FF9F-8770DDE8A8F3}"/>
          </ac:spMkLst>
        </pc:spChg>
      </pc:sldChg>
      <pc:sldChg chg="addSp delSp modSp mod">
        <pc:chgData name="Mathieu Vallart (SKU)" userId="56e3c14d-6563-4ef7-b6de-99b9904107f1" providerId="ADAL" clId="{2B5752C5-6F56-4488-94C8-7E53D65032B4}" dt="2024-11-19T09:05:36.656" v="1017" actId="478"/>
        <pc:sldMkLst>
          <pc:docMk/>
          <pc:sldMk cId="2136070199" sldId="2145707737"/>
        </pc:sldMkLst>
        <pc:spChg chg="add del mod">
          <ac:chgData name="Mathieu Vallart (SKU)" userId="56e3c14d-6563-4ef7-b6de-99b9904107f1" providerId="ADAL" clId="{2B5752C5-6F56-4488-94C8-7E53D65032B4}" dt="2024-11-19T09:05:36.656" v="1017" actId="478"/>
          <ac:spMkLst>
            <pc:docMk/>
            <pc:sldMk cId="2136070199" sldId="2145707737"/>
            <ac:spMk id="2" creationId="{8EA2489F-CB6F-7FB4-0AFD-427D268C0A68}"/>
          </ac:spMkLst>
        </pc:spChg>
        <pc:spChg chg="mod">
          <ac:chgData name="Mathieu Vallart (SKU)" userId="56e3c14d-6563-4ef7-b6de-99b9904107f1" providerId="ADAL" clId="{2B5752C5-6F56-4488-94C8-7E53D65032B4}" dt="2024-11-19T08:26:08.692" v="578" actId="20577"/>
          <ac:spMkLst>
            <pc:docMk/>
            <pc:sldMk cId="2136070199" sldId="2145707737"/>
            <ac:spMk id="8" creationId="{B49CEE02-819A-72FE-AAD4-E2606569BA17}"/>
          </ac:spMkLst>
        </pc:spChg>
      </pc:sldChg>
      <pc:sldChg chg="addSp delSp modSp mod">
        <pc:chgData name="Mathieu Vallart (SKU)" userId="56e3c14d-6563-4ef7-b6de-99b9904107f1" providerId="ADAL" clId="{2B5752C5-6F56-4488-94C8-7E53D65032B4}" dt="2024-11-19T09:05:29.679" v="1015" actId="478"/>
        <pc:sldMkLst>
          <pc:docMk/>
          <pc:sldMk cId="1646300689" sldId="2145707738"/>
        </pc:sldMkLst>
        <pc:spChg chg="add del mod">
          <ac:chgData name="Mathieu Vallart (SKU)" userId="56e3c14d-6563-4ef7-b6de-99b9904107f1" providerId="ADAL" clId="{2B5752C5-6F56-4488-94C8-7E53D65032B4}" dt="2024-11-19T09:05:29.679" v="1015" actId="478"/>
          <ac:spMkLst>
            <pc:docMk/>
            <pc:sldMk cId="1646300689" sldId="2145707738"/>
            <ac:spMk id="7" creationId="{62BEDD68-FEEC-DFB6-E202-8625B8116355}"/>
          </ac:spMkLst>
        </pc:spChg>
        <pc:spChg chg="mod">
          <ac:chgData name="Mathieu Vallart (SKU)" userId="56e3c14d-6563-4ef7-b6de-99b9904107f1" providerId="ADAL" clId="{2B5752C5-6F56-4488-94C8-7E53D65032B4}" dt="2024-11-19T08:38:28.684" v="767" actId="20577"/>
          <ac:spMkLst>
            <pc:docMk/>
            <pc:sldMk cId="1646300689" sldId="2145707738"/>
            <ac:spMk id="9" creationId="{34844BDA-DE84-2361-2042-29D808B60142}"/>
          </ac:spMkLst>
        </pc:spChg>
        <pc:spChg chg="mod">
          <ac:chgData name="Mathieu Vallart (SKU)" userId="56e3c14d-6563-4ef7-b6de-99b9904107f1" providerId="ADAL" clId="{2B5752C5-6F56-4488-94C8-7E53D65032B4}" dt="2024-11-19T08:35:52.496" v="587" actId="14100"/>
          <ac:spMkLst>
            <pc:docMk/>
            <pc:sldMk cId="1646300689" sldId="2145707738"/>
            <ac:spMk id="29" creationId="{B5AE122D-B88D-9CED-8722-B43FF88A8E82}"/>
          </ac:spMkLst>
        </pc:spChg>
      </pc:sldChg>
      <pc:sldChg chg="modSp add del mod modShow">
        <pc:chgData name="Mathieu Vallart (SKU)" userId="56e3c14d-6563-4ef7-b6de-99b9904107f1" providerId="ADAL" clId="{2B5752C5-6F56-4488-94C8-7E53D65032B4}" dt="2024-11-19T09:05:51.930" v="1020" actId="729"/>
        <pc:sldMkLst>
          <pc:docMk/>
          <pc:sldMk cId="2253926812" sldId="2145707739"/>
        </pc:sldMkLst>
        <pc:spChg chg="mod">
          <ac:chgData name="Mathieu Vallart (SKU)" userId="56e3c14d-6563-4ef7-b6de-99b9904107f1" providerId="ADAL" clId="{2B5752C5-6F56-4488-94C8-7E53D65032B4}" dt="2024-11-19T08:39:13.259" v="772" actId="120"/>
          <ac:spMkLst>
            <pc:docMk/>
            <pc:sldMk cId="2253926812" sldId="2145707739"/>
            <ac:spMk id="2" creationId="{55CA005D-20A3-A294-FF9F-8770DDE8A8F3}"/>
          </ac:spMkLst>
        </pc:spChg>
        <pc:spChg chg="mod">
          <ac:chgData name="Mathieu Vallart (SKU)" userId="56e3c14d-6563-4ef7-b6de-99b9904107f1" providerId="ADAL" clId="{2B5752C5-6F56-4488-94C8-7E53D65032B4}" dt="2024-11-19T08:39:02.770" v="770" actId="1076"/>
          <ac:spMkLst>
            <pc:docMk/>
            <pc:sldMk cId="2253926812" sldId="2145707739"/>
            <ac:spMk id="4" creationId="{AD703E34-2E70-D0E2-6E04-D8CE003A9934}"/>
          </ac:spMkLst>
        </pc:spChg>
        <pc:spChg chg="mod">
          <ac:chgData name="Mathieu Vallart (SKU)" userId="56e3c14d-6563-4ef7-b6de-99b9904107f1" providerId="ADAL" clId="{2B5752C5-6F56-4488-94C8-7E53D65032B4}" dt="2024-11-19T08:40:14.923" v="799" actId="20577"/>
          <ac:spMkLst>
            <pc:docMk/>
            <pc:sldMk cId="2253926812" sldId="2145707739"/>
            <ac:spMk id="12" creationId="{13885081-1F38-ED80-DD34-86AD4AFF479B}"/>
          </ac:spMkLst>
        </pc:spChg>
        <pc:picChg chg="mod">
          <ac:chgData name="Mathieu Vallart (SKU)" userId="56e3c14d-6563-4ef7-b6de-99b9904107f1" providerId="ADAL" clId="{2B5752C5-6F56-4488-94C8-7E53D65032B4}" dt="2024-11-19T08:39:24.913" v="774" actId="1076"/>
          <ac:picMkLst>
            <pc:docMk/>
            <pc:sldMk cId="2253926812" sldId="2145707739"/>
            <ac:picMk id="11" creationId="{3B3EDF23-9A5E-A956-E798-A0048805A748}"/>
          </ac:picMkLst>
        </pc:picChg>
      </pc:sldChg>
    </pc:docChg>
  </pc:docChgLst>
  <pc:docChgLst>
    <pc:chgData name="Natalia Skalkogianni (ATH)" userId="S::natalia.skalkogianni@eldoradogold.com::2bf0de59-3b65-44fe-afa0-adc6e8d32eae" providerId="AD" clId="Web-{E1026FC9-49F1-F6ED-AD23-1F8B8ADAF282}"/>
    <pc:docChg chg="modSld">
      <pc:chgData name="Natalia Skalkogianni (ATH)" userId="S::natalia.skalkogianni@eldoradogold.com::2bf0de59-3b65-44fe-afa0-adc6e8d32eae" providerId="AD" clId="Web-{E1026FC9-49F1-F6ED-AD23-1F8B8ADAF282}" dt="2024-11-15T13:17:19.733" v="1" actId="1076"/>
      <pc:docMkLst>
        <pc:docMk/>
      </pc:docMkLst>
      <pc:sldChg chg="modSp">
        <pc:chgData name="Natalia Skalkogianni (ATH)" userId="S::natalia.skalkogianni@eldoradogold.com::2bf0de59-3b65-44fe-afa0-adc6e8d32eae" providerId="AD" clId="Web-{E1026FC9-49F1-F6ED-AD23-1F8B8ADAF282}" dt="2024-11-15T13:17:19.733" v="1" actId="1076"/>
        <pc:sldMkLst>
          <pc:docMk/>
          <pc:sldMk cId="1871995062" sldId="275"/>
        </pc:sldMkLst>
        <pc:picChg chg="mod">
          <ac:chgData name="Natalia Skalkogianni (ATH)" userId="S::natalia.skalkogianni@eldoradogold.com::2bf0de59-3b65-44fe-afa0-adc6e8d32eae" providerId="AD" clId="Web-{E1026FC9-49F1-F6ED-AD23-1F8B8ADAF282}" dt="2024-11-15T13:17:19.733" v="1" actId="1076"/>
          <ac:picMkLst>
            <pc:docMk/>
            <pc:sldMk cId="1871995062" sldId="275"/>
            <ac:picMk id="72" creationId="{27021394-A60C-E8B7-0B7B-DB0ACC6261A3}"/>
          </ac:picMkLst>
        </pc:picChg>
      </pc:sldChg>
    </pc:docChg>
  </pc:docChgLst>
  <pc:docChgLst>
    <pc:chgData name="Eirini Strikou (STR)" userId="S::eirini.strikou@eldoradogold.com::1f82ff53-bc97-48dd-9df2-a2e993f725dd" providerId="AD" clId="Web-{B96465F7-8C25-586E-2386-3FB8969E02EF}"/>
    <pc:docChg chg="mod addSld modSld modSection">
      <pc:chgData name="Eirini Strikou (STR)" userId="S::eirini.strikou@eldoradogold.com::1f82ff53-bc97-48dd-9df2-a2e993f725dd" providerId="AD" clId="Web-{B96465F7-8C25-586E-2386-3FB8969E02EF}" dt="2024-11-15T12:51:07.283" v="7" actId="20577"/>
      <pc:docMkLst>
        <pc:docMk/>
      </pc:docMkLst>
      <pc:sldChg chg="modSp new">
        <pc:chgData name="Eirini Strikou (STR)" userId="S::eirini.strikou@eldoradogold.com::1f82ff53-bc97-48dd-9df2-a2e993f725dd" providerId="AD" clId="Web-{B96465F7-8C25-586E-2386-3FB8969E02EF}" dt="2024-11-15T12:51:07.283" v="7" actId="20577"/>
        <pc:sldMkLst>
          <pc:docMk/>
          <pc:sldMk cId="825685016" sldId="2145707735"/>
        </pc:sldMkLst>
        <pc:spChg chg="mod">
          <ac:chgData name="Eirini Strikou (STR)" userId="S::eirini.strikou@eldoradogold.com::1f82ff53-bc97-48dd-9df2-a2e993f725dd" providerId="AD" clId="Web-{B96465F7-8C25-586E-2386-3FB8969E02EF}" dt="2024-11-15T12:51:07.283" v="7" actId="20577"/>
          <ac:spMkLst>
            <pc:docMk/>
            <pc:sldMk cId="825685016" sldId="2145707735"/>
            <ac:spMk id="3" creationId="{64B6518C-65E5-90C5-BA9F-EE613C7F3B8E}"/>
          </ac:spMkLst>
        </pc:spChg>
        <pc:spChg chg="mod">
          <ac:chgData name="Eirini Strikou (STR)" userId="S::eirini.strikou@eldoradogold.com::1f82ff53-bc97-48dd-9df2-a2e993f725dd" providerId="AD" clId="Web-{B96465F7-8C25-586E-2386-3FB8969E02EF}" dt="2024-11-15T12:50:53.657" v="4" actId="20577"/>
          <ac:spMkLst>
            <pc:docMk/>
            <pc:sldMk cId="825685016" sldId="2145707735"/>
            <ac:spMk id="4" creationId="{55A38E97-7107-D84D-DD8E-0EE95D8B992E}"/>
          </ac:spMkLst>
        </pc:spChg>
      </pc:sldChg>
    </pc:docChg>
  </pc:docChgLst>
  <pc:docChgLst>
    <pc:chgData name="Natalia Skalkogianni (ATH)" userId="S::natalia.skalkogianni@eldoradogold.com::2bf0de59-3b65-44fe-afa0-adc6e8d32eae" providerId="AD" clId="Web-{FF7EE465-F66A-8BC4-E0ED-7740CDA9EDA9}"/>
    <pc:docChg chg="modSld sldOrd">
      <pc:chgData name="Natalia Skalkogianni (ATH)" userId="S::natalia.skalkogianni@eldoradogold.com::2bf0de59-3b65-44fe-afa0-adc6e8d32eae" providerId="AD" clId="Web-{FF7EE465-F66A-8BC4-E0ED-7740CDA9EDA9}" dt="2024-11-17T16:23:26.431" v="7" actId="20577"/>
      <pc:docMkLst>
        <pc:docMk/>
      </pc:docMkLst>
      <pc:sldChg chg="ord">
        <pc:chgData name="Natalia Skalkogianni (ATH)" userId="S::natalia.skalkogianni@eldoradogold.com::2bf0de59-3b65-44fe-afa0-adc6e8d32eae" providerId="AD" clId="Web-{FF7EE465-F66A-8BC4-E0ED-7740CDA9EDA9}" dt="2024-11-17T16:22:42.321" v="2"/>
        <pc:sldMkLst>
          <pc:docMk/>
          <pc:sldMk cId="2448827716" sldId="2145707736"/>
        </pc:sldMkLst>
      </pc:sldChg>
      <pc:sldChg chg="modSp">
        <pc:chgData name="Natalia Skalkogianni (ATH)" userId="S::natalia.skalkogianni@eldoradogold.com::2bf0de59-3b65-44fe-afa0-adc6e8d32eae" providerId="AD" clId="Web-{FF7EE465-F66A-8BC4-E0ED-7740CDA9EDA9}" dt="2024-11-17T16:23:26.431" v="7" actId="20577"/>
        <pc:sldMkLst>
          <pc:docMk/>
          <pc:sldMk cId="2136070199" sldId="2145707737"/>
        </pc:sldMkLst>
        <pc:spChg chg="mod">
          <ac:chgData name="Natalia Skalkogianni (ATH)" userId="S::natalia.skalkogianni@eldoradogold.com::2bf0de59-3b65-44fe-afa0-adc6e8d32eae" providerId="AD" clId="Web-{FF7EE465-F66A-8BC4-E0ED-7740CDA9EDA9}" dt="2024-11-17T16:23:26.431" v="7" actId="20577"/>
          <ac:spMkLst>
            <pc:docMk/>
            <pc:sldMk cId="2136070199" sldId="2145707737"/>
            <ac:spMk id="8" creationId="{B49CEE02-819A-72FE-AAD4-E2606569BA17}"/>
          </ac:spMkLst>
        </pc:spChg>
      </pc:sldChg>
      <pc:sldChg chg="ord">
        <pc:chgData name="Natalia Skalkogianni (ATH)" userId="S::natalia.skalkogianni@eldoradogold.com::2bf0de59-3b65-44fe-afa0-adc6e8d32eae" providerId="AD" clId="Web-{FF7EE465-F66A-8BC4-E0ED-7740CDA9EDA9}" dt="2024-11-17T16:23:01.774" v="3"/>
        <pc:sldMkLst>
          <pc:docMk/>
          <pc:sldMk cId="1646300689" sldId="2145707738"/>
        </pc:sldMkLst>
      </pc:sldChg>
    </pc:docChg>
  </pc:docChgLst>
  <pc:docChgLst>
    <pc:chgData name="Natalia Skalkogianni (ATH)" userId="S::natalia.skalkogianni@eldoradogold.com::2bf0de59-3b65-44fe-afa0-adc6e8d32eae" providerId="AD" clId="Web-{255D3C90-6583-542F-84E8-B3034CBA8D53}"/>
    <pc:docChg chg="addSld delSld modSld sldOrd modSection">
      <pc:chgData name="Natalia Skalkogianni (ATH)" userId="S::natalia.skalkogianni@eldoradogold.com::2bf0de59-3b65-44fe-afa0-adc6e8d32eae" providerId="AD" clId="Web-{255D3C90-6583-542F-84E8-B3034CBA8D53}" dt="2024-11-15T16:47:37.631" v="2347"/>
      <pc:docMkLst>
        <pc:docMk/>
      </pc:docMkLst>
      <pc:sldChg chg="del ord">
        <pc:chgData name="Natalia Skalkogianni (ATH)" userId="S::natalia.skalkogianni@eldoradogold.com::2bf0de59-3b65-44fe-afa0-adc6e8d32eae" providerId="AD" clId="Web-{255D3C90-6583-542F-84E8-B3034CBA8D53}" dt="2024-11-15T16:35:34.293" v="2159"/>
        <pc:sldMkLst>
          <pc:docMk/>
          <pc:sldMk cId="3598442101" sldId="268"/>
        </pc:sldMkLst>
      </pc:sldChg>
      <pc:sldChg chg="delSp modSp">
        <pc:chgData name="Natalia Skalkogianni (ATH)" userId="S::natalia.skalkogianni@eldoradogold.com::2bf0de59-3b65-44fe-afa0-adc6e8d32eae" providerId="AD" clId="Web-{255D3C90-6583-542F-84E8-B3034CBA8D53}" dt="2024-11-15T16:46:49.787" v="2346" actId="14100"/>
        <pc:sldMkLst>
          <pc:docMk/>
          <pc:sldMk cId="3793366665" sldId="2145707561"/>
        </pc:sldMkLst>
        <pc:spChg chg="mod">
          <ac:chgData name="Natalia Skalkogianni (ATH)" userId="S::natalia.skalkogianni@eldoradogold.com::2bf0de59-3b65-44fe-afa0-adc6e8d32eae" providerId="AD" clId="Web-{255D3C90-6583-542F-84E8-B3034CBA8D53}" dt="2024-11-15T16:46:49.787" v="2346" actId="14100"/>
          <ac:spMkLst>
            <pc:docMk/>
            <pc:sldMk cId="3793366665" sldId="2145707561"/>
            <ac:spMk id="2" creationId="{119A534E-97D9-E111-EEF5-E5F990406697}"/>
          </ac:spMkLst>
        </pc:spChg>
        <pc:graphicFrameChg chg="modGraphic">
          <ac:chgData name="Natalia Skalkogianni (ATH)" userId="S::natalia.skalkogianni@eldoradogold.com::2bf0de59-3b65-44fe-afa0-adc6e8d32eae" providerId="AD" clId="Web-{255D3C90-6583-542F-84E8-B3034CBA8D53}" dt="2024-11-15T16:46:36.256" v="2342"/>
          <ac:graphicFrameMkLst>
            <pc:docMk/>
            <pc:sldMk cId="3793366665" sldId="2145707561"/>
            <ac:graphicFrameMk id="5" creationId="{53B08F1D-8821-CABE-4DA9-2F5530CC3955}"/>
          </ac:graphicFrameMkLst>
        </pc:graphicFrameChg>
        <pc:picChg chg="mod">
          <ac:chgData name="Natalia Skalkogianni (ATH)" userId="S::natalia.skalkogianni@eldoradogold.com::2bf0de59-3b65-44fe-afa0-adc6e8d32eae" providerId="AD" clId="Web-{255D3C90-6583-542F-84E8-B3034CBA8D53}" dt="2024-11-15T16:46:19.115" v="2339"/>
          <ac:picMkLst>
            <pc:docMk/>
            <pc:sldMk cId="3793366665" sldId="2145707561"/>
            <ac:picMk id="7" creationId="{35C47E62-18EB-667B-EB2C-300D5C02C96F}"/>
          </ac:picMkLst>
        </pc:picChg>
        <pc:picChg chg="del">
          <ac:chgData name="Natalia Skalkogianni (ATH)" userId="S::natalia.skalkogianni@eldoradogold.com::2bf0de59-3b65-44fe-afa0-adc6e8d32eae" providerId="AD" clId="Web-{255D3C90-6583-542F-84E8-B3034CBA8D53}" dt="2024-11-15T16:46:14.521" v="2338"/>
          <ac:picMkLst>
            <pc:docMk/>
            <pc:sldMk cId="3793366665" sldId="2145707561"/>
            <ac:picMk id="8" creationId="{5CB59D3F-E5D4-112A-8FAE-11D5DA0164E2}"/>
          </ac:picMkLst>
        </pc:picChg>
      </pc:sldChg>
      <pc:sldChg chg="delSp modSp ord">
        <pc:chgData name="Natalia Skalkogianni (ATH)" userId="S::natalia.skalkogianni@eldoradogold.com::2bf0de59-3b65-44fe-afa0-adc6e8d32eae" providerId="AD" clId="Web-{255D3C90-6583-542F-84E8-B3034CBA8D53}" dt="2024-11-15T15:42:16.779" v="1139" actId="20577"/>
        <pc:sldMkLst>
          <pc:docMk/>
          <pc:sldMk cId="1163970992" sldId="2145707580"/>
        </pc:sldMkLst>
        <pc:spChg chg="mod">
          <ac:chgData name="Natalia Skalkogianni (ATH)" userId="S::natalia.skalkogianni@eldoradogold.com::2bf0de59-3b65-44fe-afa0-adc6e8d32eae" providerId="AD" clId="Web-{255D3C90-6583-542F-84E8-B3034CBA8D53}" dt="2024-11-15T15:02:02.483" v="296" actId="20577"/>
          <ac:spMkLst>
            <pc:docMk/>
            <pc:sldMk cId="1163970992" sldId="2145707580"/>
            <ac:spMk id="6" creationId="{8D9BF6DF-4ADB-4950-BDCB-936F91049F0F}"/>
          </ac:spMkLst>
        </pc:spChg>
        <pc:spChg chg="mod">
          <ac:chgData name="Natalia Skalkogianni (ATH)" userId="S::natalia.skalkogianni@eldoradogold.com::2bf0de59-3b65-44fe-afa0-adc6e8d32eae" providerId="AD" clId="Web-{255D3C90-6583-542F-84E8-B3034CBA8D53}" dt="2024-11-15T14:59:33.901" v="250"/>
          <ac:spMkLst>
            <pc:docMk/>
            <pc:sldMk cId="1163970992" sldId="2145707580"/>
            <ac:spMk id="14" creationId="{A45AA497-7DA6-4519-9B0D-C3131F99D6DA}"/>
          </ac:spMkLst>
        </pc:spChg>
        <pc:spChg chg="mod">
          <ac:chgData name="Natalia Skalkogianni (ATH)" userId="S::natalia.skalkogianni@eldoradogold.com::2bf0de59-3b65-44fe-afa0-adc6e8d32eae" providerId="AD" clId="Web-{255D3C90-6583-542F-84E8-B3034CBA8D53}" dt="2024-11-15T14:59:33.901" v="251"/>
          <ac:spMkLst>
            <pc:docMk/>
            <pc:sldMk cId="1163970992" sldId="2145707580"/>
            <ac:spMk id="15" creationId="{71BF27CA-4853-CAE5-101D-94531D87B55E}"/>
          </ac:spMkLst>
        </pc:spChg>
        <pc:spChg chg="mod">
          <ac:chgData name="Natalia Skalkogianni (ATH)" userId="S::natalia.skalkogianni@eldoradogold.com::2bf0de59-3b65-44fe-afa0-adc6e8d32eae" providerId="AD" clId="Web-{255D3C90-6583-542F-84E8-B3034CBA8D53}" dt="2024-11-15T14:59:33.901" v="252"/>
          <ac:spMkLst>
            <pc:docMk/>
            <pc:sldMk cId="1163970992" sldId="2145707580"/>
            <ac:spMk id="16" creationId="{2FE5F51A-AC47-410E-0B26-5FA00F7F8256}"/>
          </ac:spMkLst>
        </pc:spChg>
        <pc:spChg chg="mod">
          <ac:chgData name="Natalia Skalkogianni (ATH)" userId="S::natalia.skalkogianni@eldoradogold.com::2bf0de59-3b65-44fe-afa0-adc6e8d32eae" providerId="AD" clId="Web-{255D3C90-6583-542F-84E8-B3034CBA8D53}" dt="2024-11-15T14:59:33.901" v="253"/>
          <ac:spMkLst>
            <pc:docMk/>
            <pc:sldMk cId="1163970992" sldId="2145707580"/>
            <ac:spMk id="17" creationId="{FB596E6F-B1AD-3F40-0F34-86281B30C9EB}"/>
          </ac:spMkLst>
        </pc:spChg>
        <pc:spChg chg="mod">
          <ac:chgData name="Natalia Skalkogianni (ATH)" userId="S::natalia.skalkogianni@eldoradogold.com::2bf0de59-3b65-44fe-afa0-adc6e8d32eae" providerId="AD" clId="Web-{255D3C90-6583-542F-84E8-B3034CBA8D53}" dt="2024-11-15T14:59:33.901" v="254"/>
          <ac:spMkLst>
            <pc:docMk/>
            <pc:sldMk cId="1163970992" sldId="2145707580"/>
            <ac:spMk id="18" creationId="{E1334D66-0C10-EC67-8CE2-91AEB65A48F5}"/>
          </ac:spMkLst>
        </pc:spChg>
        <pc:spChg chg="mod">
          <ac:chgData name="Natalia Skalkogianni (ATH)" userId="S::natalia.skalkogianni@eldoradogold.com::2bf0de59-3b65-44fe-afa0-adc6e8d32eae" providerId="AD" clId="Web-{255D3C90-6583-542F-84E8-B3034CBA8D53}" dt="2024-11-15T14:59:33.901" v="255"/>
          <ac:spMkLst>
            <pc:docMk/>
            <pc:sldMk cId="1163970992" sldId="2145707580"/>
            <ac:spMk id="19" creationId="{7635960D-D8B1-EB03-5D93-D6069F66A5C8}"/>
          </ac:spMkLst>
        </pc:spChg>
        <pc:spChg chg="mod">
          <ac:chgData name="Natalia Skalkogianni (ATH)" userId="S::natalia.skalkogianni@eldoradogold.com::2bf0de59-3b65-44fe-afa0-adc6e8d32eae" providerId="AD" clId="Web-{255D3C90-6583-542F-84E8-B3034CBA8D53}" dt="2024-11-15T14:59:33.901" v="256"/>
          <ac:spMkLst>
            <pc:docMk/>
            <pc:sldMk cId="1163970992" sldId="2145707580"/>
            <ac:spMk id="20" creationId="{F7C3F108-4105-726C-6EFF-A38F7C9002CE}"/>
          </ac:spMkLst>
        </pc:spChg>
        <pc:spChg chg="mod">
          <ac:chgData name="Natalia Skalkogianni (ATH)" userId="S::natalia.skalkogianni@eldoradogold.com::2bf0de59-3b65-44fe-afa0-adc6e8d32eae" providerId="AD" clId="Web-{255D3C90-6583-542F-84E8-B3034CBA8D53}" dt="2024-11-15T14:59:33.901" v="257"/>
          <ac:spMkLst>
            <pc:docMk/>
            <pc:sldMk cId="1163970992" sldId="2145707580"/>
            <ac:spMk id="21" creationId="{B6C20977-F191-E71C-1D75-5A4FE237F58F}"/>
          </ac:spMkLst>
        </pc:spChg>
        <pc:spChg chg="mod">
          <ac:chgData name="Natalia Skalkogianni (ATH)" userId="S::natalia.skalkogianni@eldoradogold.com::2bf0de59-3b65-44fe-afa0-adc6e8d32eae" providerId="AD" clId="Web-{255D3C90-6583-542F-84E8-B3034CBA8D53}" dt="2024-11-15T14:59:33.901" v="258"/>
          <ac:spMkLst>
            <pc:docMk/>
            <pc:sldMk cId="1163970992" sldId="2145707580"/>
            <ac:spMk id="22" creationId="{F5537F94-9C2A-AF55-E5FB-2B008212F26B}"/>
          </ac:spMkLst>
        </pc:spChg>
        <pc:spChg chg="mod">
          <ac:chgData name="Natalia Skalkogianni (ATH)" userId="S::natalia.skalkogianni@eldoradogold.com::2bf0de59-3b65-44fe-afa0-adc6e8d32eae" providerId="AD" clId="Web-{255D3C90-6583-542F-84E8-B3034CBA8D53}" dt="2024-11-15T14:59:33.901" v="259"/>
          <ac:spMkLst>
            <pc:docMk/>
            <pc:sldMk cId="1163970992" sldId="2145707580"/>
            <ac:spMk id="23" creationId="{D219ECDA-538B-E45F-35FC-D9CC466C0D56}"/>
          </ac:spMkLst>
        </pc:spChg>
        <pc:spChg chg="mod">
          <ac:chgData name="Natalia Skalkogianni (ATH)" userId="S::natalia.skalkogianni@eldoradogold.com::2bf0de59-3b65-44fe-afa0-adc6e8d32eae" providerId="AD" clId="Web-{255D3C90-6583-542F-84E8-B3034CBA8D53}" dt="2024-11-15T14:59:33.901" v="260"/>
          <ac:spMkLst>
            <pc:docMk/>
            <pc:sldMk cId="1163970992" sldId="2145707580"/>
            <ac:spMk id="24" creationId="{B33798B3-3EA8-20BD-7F6B-4CB5E515C946}"/>
          </ac:spMkLst>
        </pc:spChg>
        <pc:spChg chg="mod">
          <ac:chgData name="Natalia Skalkogianni (ATH)" userId="S::natalia.skalkogianni@eldoradogold.com::2bf0de59-3b65-44fe-afa0-adc6e8d32eae" providerId="AD" clId="Web-{255D3C90-6583-542F-84E8-B3034CBA8D53}" dt="2024-11-15T14:59:33.948" v="261"/>
          <ac:spMkLst>
            <pc:docMk/>
            <pc:sldMk cId="1163970992" sldId="2145707580"/>
            <ac:spMk id="25" creationId="{32569292-70E4-1DF3-930A-7326AEC9FFA7}"/>
          </ac:spMkLst>
        </pc:spChg>
        <pc:spChg chg="mod">
          <ac:chgData name="Natalia Skalkogianni (ATH)" userId="S::natalia.skalkogianni@eldoradogold.com::2bf0de59-3b65-44fe-afa0-adc6e8d32eae" providerId="AD" clId="Web-{255D3C90-6583-542F-84E8-B3034CBA8D53}" dt="2024-11-15T15:27:55.970" v="644" actId="1076"/>
          <ac:spMkLst>
            <pc:docMk/>
            <pc:sldMk cId="1163970992" sldId="2145707580"/>
            <ac:spMk id="26" creationId="{DD1E62F5-81D0-42BD-F9B1-67AB52561B7A}"/>
          </ac:spMkLst>
        </pc:spChg>
        <pc:spChg chg="mod">
          <ac:chgData name="Natalia Skalkogianni (ATH)" userId="S::natalia.skalkogianni@eldoradogold.com::2bf0de59-3b65-44fe-afa0-adc6e8d32eae" providerId="AD" clId="Web-{255D3C90-6583-542F-84E8-B3034CBA8D53}" dt="2024-11-15T14:59:46.886" v="267"/>
          <ac:spMkLst>
            <pc:docMk/>
            <pc:sldMk cId="1163970992" sldId="2145707580"/>
            <ac:spMk id="32" creationId="{C8497F59-B6EF-4E2A-9B0D-DB9F3728AC40}"/>
          </ac:spMkLst>
        </pc:spChg>
        <pc:spChg chg="mod">
          <ac:chgData name="Natalia Skalkogianni (ATH)" userId="S::natalia.skalkogianni@eldoradogold.com::2bf0de59-3b65-44fe-afa0-adc6e8d32eae" providerId="AD" clId="Web-{255D3C90-6583-542F-84E8-B3034CBA8D53}" dt="2024-11-15T14:59:46.886" v="268"/>
          <ac:spMkLst>
            <pc:docMk/>
            <pc:sldMk cId="1163970992" sldId="2145707580"/>
            <ac:spMk id="33" creationId="{430505B3-B081-DF55-E170-FD2353BD3B2B}"/>
          </ac:spMkLst>
        </pc:spChg>
        <pc:spChg chg="mod">
          <ac:chgData name="Natalia Skalkogianni (ATH)" userId="S::natalia.skalkogianni@eldoradogold.com::2bf0de59-3b65-44fe-afa0-adc6e8d32eae" providerId="AD" clId="Web-{255D3C90-6583-542F-84E8-B3034CBA8D53}" dt="2024-11-15T14:59:46.917" v="269"/>
          <ac:spMkLst>
            <pc:docMk/>
            <pc:sldMk cId="1163970992" sldId="2145707580"/>
            <ac:spMk id="34" creationId="{9A588F62-E215-DC64-1266-182B8F6BA2D8}"/>
          </ac:spMkLst>
        </pc:spChg>
        <pc:spChg chg="mod">
          <ac:chgData name="Natalia Skalkogianni (ATH)" userId="S::natalia.skalkogianni@eldoradogold.com::2bf0de59-3b65-44fe-afa0-adc6e8d32eae" providerId="AD" clId="Web-{255D3C90-6583-542F-84E8-B3034CBA8D53}" dt="2024-11-15T15:36:31.618" v="984" actId="1076"/>
          <ac:spMkLst>
            <pc:docMk/>
            <pc:sldMk cId="1163970992" sldId="2145707580"/>
            <ac:spMk id="35" creationId="{B7FB96D6-A92C-8975-6E6C-D26C831831E0}"/>
          </ac:spMkLst>
        </pc:spChg>
        <pc:spChg chg="mod">
          <ac:chgData name="Natalia Skalkogianni (ATH)" userId="S::natalia.skalkogianni@eldoradogold.com::2bf0de59-3b65-44fe-afa0-adc6e8d32eae" providerId="AD" clId="Web-{255D3C90-6583-542F-84E8-B3034CBA8D53}" dt="2024-11-15T14:57:19.086" v="224"/>
          <ac:spMkLst>
            <pc:docMk/>
            <pc:sldMk cId="1163970992" sldId="2145707580"/>
            <ac:spMk id="37" creationId="{8CF393C9-831E-0C15-B445-8061332CCC18}"/>
          </ac:spMkLst>
        </pc:spChg>
        <pc:spChg chg="mod">
          <ac:chgData name="Natalia Skalkogianni (ATH)" userId="S::natalia.skalkogianni@eldoradogold.com::2bf0de59-3b65-44fe-afa0-adc6e8d32eae" providerId="AD" clId="Web-{255D3C90-6583-542F-84E8-B3034CBA8D53}" dt="2024-11-15T14:57:19.086" v="225"/>
          <ac:spMkLst>
            <pc:docMk/>
            <pc:sldMk cId="1163970992" sldId="2145707580"/>
            <ac:spMk id="38" creationId="{A5C7F69C-F0A3-5E70-906E-D2FA6D9628AA}"/>
          </ac:spMkLst>
        </pc:spChg>
        <pc:spChg chg="mod">
          <ac:chgData name="Natalia Skalkogianni (ATH)" userId="S::natalia.skalkogianni@eldoradogold.com::2bf0de59-3b65-44fe-afa0-adc6e8d32eae" providerId="AD" clId="Web-{255D3C90-6583-542F-84E8-B3034CBA8D53}" dt="2024-11-15T14:57:19.086" v="226"/>
          <ac:spMkLst>
            <pc:docMk/>
            <pc:sldMk cId="1163970992" sldId="2145707580"/>
            <ac:spMk id="39" creationId="{7BDC83DD-328B-B545-43A9-7F5B51128449}"/>
          </ac:spMkLst>
        </pc:spChg>
        <pc:spChg chg="mod">
          <ac:chgData name="Natalia Skalkogianni (ATH)" userId="S::natalia.skalkogianni@eldoradogold.com::2bf0de59-3b65-44fe-afa0-adc6e8d32eae" providerId="AD" clId="Web-{255D3C90-6583-542F-84E8-B3034CBA8D53}" dt="2024-11-15T14:57:19.086" v="227"/>
          <ac:spMkLst>
            <pc:docMk/>
            <pc:sldMk cId="1163970992" sldId="2145707580"/>
            <ac:spMk id="40" creationId="{D4367A75-DEA0-0680-AD31-DC613B3B41C4}"/>
          </ac:spMkLst>
        </pc:spChg>
        <pc:spChg chg="mod">
          <ac:chgData name="Natalia Skalkogianni (ATH)" userId="S::natalia.skalkogianni@eldoradogold.com::2bf0de59-3b65-44fe-afa0-adc6e8d32eae" providerId="AD" clId="Web-{255D3C90-6583-542F-84E8-B3034CBA8D53}" dt="2024-11-15T14:57:19.086" v="228"/>
          <ac:spMkLst>
            <pc:docMk/>
            <pc:sldMk cId="1163970992" sldId="2145707580"/>
            <ac:spMk id="41" creationId="{A550C58A-DE52-1C7B-90F1-57C85EEA4020}"/>
          </ac:spMkLst>
        </pc:spChg>
        <pc:spChg chg="mod">
          <ac:chgData name="Natalia Skalkogianni (ATH)" userId="S::natalia.skalkogianni@eldoradogold.com::2bf0de59-3b65-44fe-afa0-adc6e8d32eae" providerId="AD" clId="Web-{255D3C90-6583-542F-84E8-B3034CBA8D53}" dt="2024-11-15T14:57:19.086" v="229"/>
          <ac:spMkLst>
            <pc:docMk/>
            <pc:sldMk cId="1163970992" sldId="2145707580"/>
            <ac:spMk id="42" creationId="{53247CCC-4B48-C16A-A2AF-C92CA1209F65}"/>
          </ac:spMkLst>
        </pc:spChg>
        <pc:spChg chg="mod">
          <ac:chgData name="Natalia Skalkogianni (ATH)" userId="S::natalia.skalkogianni@eldoradogold.com::2bf0de59-3b65-44fe-afa0-adc6e8d32eae" providerId="AD" clId="Web-{255D3C90-6583-542F-84E8-B3034CBA8D53}" dt="2024-11-15T14:57:19.086" v="230"/>
          <ac:spMkLst>
            <pc:docMk/>
            <pc:sldMk cId="1163970992" sldId="2145707580"/>
            <ac:spMk id="43" creationId="{F6AC29EA-60A1-5BB3-8A54-6C020C8EE477}"/>
          </ac:spMkLst>
        </pc:spChg>
        <pc:spChg chg="mod">
          <ac:chgData name="Natalia Skalkogianni (ATH)" userId="S::natalia.skalkogianni@eldoradogold.com::2bf0de59-3b65-44fe-afa0-adc6e8d32eae" providerId="AD" clId="Web-{255D3C90-6583-542F-84E8-B3034CBA8D53}" dt="2024-11-15T14:57:19.086" v="231"/>
          <ac:spMkLst>
            <pc:docMk/>
            <pc:sldMk cId="1163970992" sldId="2145707580"/>
            <ac:spMk id="44" creationId="{99BF7C8A-2E4A-9DF4-D0C5-B9B383182B0D}"/>
          </ac:spMkLst>
        </pc:spChg>
        <pc:spChg chg="mod">
          <ac:chgData name="Natalia Skalkogianni (ATH)" userId="S::natalia.skalkogianni@eldoradogold.com::2bf0de59-3b65-44fe-afa0-adc6e8d32eae" providerId="AD" clId="Web-{255D3C90-6583-542F-84E8-B3034CBA8D53}" dt="2024-11-15T14:57:19.086" v="232"/>
          <ac:spMkLst>
            <pc:docMk/>
            <pc:sldMk cId="1163970992" sldId="2145707580"/>
            <ac:spMk id="45" creationId="{2F82332D-9973-C073-8962-BF4D5DE79CCF}"/>
          </ac:spMkLst>
        </pc:spChg>
        <pc:spChg chg="mod">
          <ac:chgData name="Natalia Skalkogianni (ATH)" userId="S::natalia.skalkogianni@eldoradogold.com::2bf0de59-3b65-44fe-afa0-adc6e8d32eae" providerId="AD" clId="Web-{255D3C90-6583-542F-84E8-B3034CBA8D53}" dt="2024-11-15T14:57:19.086" v="233"/>
          <ac:spMkLst>
            <pc:docMk/>
            <pc:sldMk cId="1163970992" sldId="2145707580"/>
            <ac:spMk id="46" creationId="{9D533D50-85AB-045D-8378-9F7D1E9EB208}"/>
          </ac:spMkLst>
        </pc:spChg>
        <pc:spChg chg="mod">
          <ac:chgData name="Natalia Skalkogianni (ATH)" userId="S::natalia.skalkogianni@eldoradogold.com::2bf0de59-3b65-44fe-afa0-adc6e8d32eae" providerId="AD" clId="Web-{255D3C90-6583-542F-84E8-B3034CBA8D53}" dt="2024-11-15T14:57:19.086" v="234"/>
          <ac:spMkLst>
            <pc:docMk/>
            <pc:sldMk cId="1163970992" sldId="2145707580"/>
            <ac:spMk id="52" creationId="{7ACDEBCA-030B-BBB9-FA1D-6F9490CB5E59}"/>
          </ac:spMkLst>
        </pc:spChg>
        <pc:spChg chg="mod">
          <ac:chgData name="Natalia Skalkogianni (ATH)" userId="S::natalia.skalkogianni@eldoradogold.com::2bf0de59-3b65-44fe-afa0-adc6e8d32eae" providerId="AD" clId="Web-{255D3C90-6583-542F-84E8-B3034CBA8D53}" dt="2024-11-15T14:57:19.132" v="235"/>
          <ac:spMkLst>
            <pc:docMk/>
            <pc:sldMk cId="1163970992" sldId="2145707580"/>
            <ac:spMk id="54" creationId="{E7879804-2740-AF62-2BB5-83DB93BC9B37}"/>
          </ac:spMkLst>
        </pc:spChg>
        <pc:spChg chg="mod">
          <ac:chgData name="Natalia Skalkogianni (ATH)" userId="S::natalia.skalkogianni@eldoradogold.com::2bf0de59-3b65-44fe-afa0-adc6e8d32eae" providerId="AD" clId="Web-{255D3C90-6583-542F-84E8-B3034CBA8D53}" dt="2024-11-15T15:02:19.624" v="302" actId="1076"/>
          <ac:spMkLst>
            <pc:docMk/>
            <pc:sldMk cId="1163970992" sldId="2145707580"/>
            <ac:spMk id="55" creationId="{15D6C50F-240B-053F-A219-F2DC71B90907}"/>
          </ac:spMkLst>
        </pc:spChg>
        <pc:spChg chg="mod">
          <ac:chgData name="Natalia Skalkogianni (ATH)" userId="S::natalia.skalkogianni@eldoradogold.com::2bf0de59-3b65-44fe-afa0-adc6e8d32eae" providerId="AD" clId="Web-{255D3C90-6583-542F-84E8-B3034CBA8D53}" dt="2024-11-15T14:56:08.599" v="211"/>
          <ac:spMkLst>
            <pc:docMk/>
            <pc:sldMk cId="1163970992" sldId="2145707580"/>
            <ac:spMk id="64" creationId="{03327236-0EBC-1DBE-DFED-463FE52787B0}"/>
          </ac:spMkLst>
        </pc:spChg>
        <pc:spChg chg="del mod">
          <ac:chgData name="Natalia Skalkogianni (ATH)" userId="S::natalia.skalkogianni@eldoradogold.com::2bf0de59-3b65-44fe-afa0-adc6e8d32eae" providerId="AD" clId="Web-{255D3C90-6583-542F-84E8-B3034CBA8D53}" dt="2024-11-15T15:00:28.340" v="277"/>
          <ac:spMkLst>
            <pc:docMk/>
            <pc:sldMk cId="1163970992" sldId="2145707580"/>
            <ac:spMk id="65" creationId="{285BCCB8-30E5-4505-21F0-908A2510DD62}"/>
          </ac:spMkLst>
        </pc:spChg>
        <pc:spChg chg="mod">
          <ac:chgData name="Natalia Skalkogianni (ATH)" userId="S::natalia.skalkogianni@eldoradogold.com::2bf0de59-3b65-44fe-afa0-adc6e8d32eae" providerId="AD" clId="Web-{255D3C90-6583-542F-84E8-B3034CBA8D53}" dt="2024-11-15T14:56:08.615" v="212"/>
          <ac:spMkLst>
            <pc:docMk/>
            <pc:sldMk cId="1163970992" sldId="2145707580"/>
            <ac:spMk id="66" creationId="{564184E2-F359-D643-C5C4-333F0E6310F9}"/>
          </ac:spMkLst>
        </pc:spChg>
        <pc:spChg chg="mod">
          <ac:chgData name="Natalia Skalkogianni (ATH)" userId="S::natalia.skalkogianni@eldoradogold.com::2bf0de59-3b65-44fe-afa0-adc6e8d32eae" providerId="AD" clId="Web-{255D3C90-6583-542F-84E8-B3034CBA8D53}" dt="2024-11-15T14:56:00.865" v="210"/>
          <ac:spMkLst>
            <pc:docMk/>
            <pc:sldMk cId="1163970992" sldId="2145707580"/>
            <ac:spMk id="67" creationId="{CA974B82-CBC8-8683-1889-54C53735C620}"/>
          </ac:spMkLst>
        </pc:spChg>
        <pc:spChg chg="mod">
          <ac:chgData name="Natalia Skalkogianni (ATH)" userId="S::natalia.skalkogianni@eldoradogold.com::2bf0de59-3b65-44fe-afa0-adc6e8d32eae" providerId="AD" clId="Web-{255D3C90-6583-542F-84E8-B3034CBA8D53}" dt="2024-11-15T15:02:16.187" v="300" actId="1076"/>
          <ac:spMkLst>
            <pc:docMk/>
            <pc:sldMk cId="1163970992" sldId="2145707580"/>
            <ac:spMk id="68" creationId="{3630AC04-282E-978C-DF28-32EBAA2415C4}"/>
          </ac:spMkLst>
        </pc:spChg>
        <pc:spChg chg="mod">
          <ac:chgData name="Natalia Skalkogianni (ATH)" userId="S::natalia.skalkogianni@eldoradogold.com::2bf0de59-3b65-44fe-afa0-adc6e8d32eae" providerId="AD" clId="Web-{255D3C90-6583-542F-84E8-B3034CBA8D53}" dt="2024-11-15T15:02:14.171" v="298" actId="1076"/>
          <ac:spMkLst>
            <pc:docMk/>
            <pc:sldMk cId="1163970992" sldId="2145707580"/>
            <ac:spMk id="76" creationId="{8DDAFADD-78BB-33D6-C245-E38FC6FD4B94}"/>
          </ac:spMkLst>
        </pc:spChg>
        <pc:spChg chg="mod">
          <ac:chgData name="Natalia Skalkogianni (ATH)" userId="S::natalia.skalkogianni@eldoradogold.com::2bf0de59-3b65-44fe-afa0-adc6e8d32eae" providerId="AD" clId="Web-{255D3C90-6583-542F-84E8-B3034CBA8D53}" dt="2024-11-15T14:58:09.587" v="240"/>
          <ac:spMkLst>
            <pc:docMk/>
            <pc:sldMk cId="1163970992" sldId="2145707580"/>
            <ac:spMk id="79" creationId="{D288924C-2F43-80B8-EA84-99EE54B6F19A}"/>
          </ac:spMkLst>
        </pc:spChg>
        <pc:spChg chg="mod">
          <ac:chgData name="Natalia Skalkogianni (ATH)" userId="S::natalia.skalkogianni@eldoradogold.com::2bf0de59-3b65-44fe-afa0-adc6e8d32eae" providerId="AD" clId="Web-{255D3C90-6583-542F-84E8-B3034CBA8D53}" dt="2024-11-15T14:58:44.666" v="246"/>
          <ac:spMkLst>
            <pc:docMk/>
            <pc:sldMk cId="1163970992" sldId="2145707580"/>
            <ac:spMk id="80" creationId="{E71FBC1D-40FF-978C-EEF0-853A650F6D63}"/>
          </ac:spMkLst>
        </pc:spChg>
        <pc:spChg chg="mod">
          <ac:chgData name="Natalia Skalkogianni (ATH)" userId="S::natalia.skalkogianni@eldoradogold.com::2bf0de59-3b65-44fe-afa0-adc6e8d32eae" providerId="AD" clId="Web-{255D3C90-6583-542F-84E8-B3034CBA8D53}" dt="2024-11-15T14:59:04.979" v="247"/>
          <ac:spMkLst>
            <pc:docMk/>
            <pc:sldMk cId="1163970992" sldId="2145707580"/>
            <ac:spMk id="81" creationId="{07D7C5E1-6F15-5D9B-2635-3EE474E46870}"/>
          </ac:spMkLst>
        </pc:spChg>
        <pc:spChg chg="mod">
          <ac:chgData name="Natalia Skalkogianni (ATH)" userId="S::natalia.skalkogianni@eldoradogold.com::2bf0de59-3b65-44fe-afa0-adc6e8d32eae" providerId="AD" clId="Web-{255D3C90-6583-542F-84E8-B3034CBA8D53}" dt="2024-11-15T14:56:31.506" v="215"/>
          <ac:spMkLst>
            <pc:docMk/>
            <pc:sldMk cId="1163970992" sldId="2145707580"/>
            <ac:spMk id="83" creationId="{CAAF4B0B-E294-1D1E-C36C-6EA72AE37EB4}"/>
          </ac:spMkLst>
        </pc:spChg>
        <pc:spChg chg="mod">
          <ac:chgData name="Natalia Skalkogianni (ATH)" userId="S::natalia.skalkogianni@eldoradogold.com::2bf0de59-3b65-44fe-afa0-adc6e8d32eae" providerId="AD" clId="Web-{255D3C90-6583-542F-84E8-B3034CBA8D53}" dt="2024-11-15T14:57:16.023" v="223"/>
          <ac:spMkLst>
            <pc:docMk/>
            <pc:sldMk cId="1163970992" sldId="2145707580"/>
            <ac:spMk id="84" creationId="{12383D33-C653-3B88-6533-ADFB76EC9A50}"/>
          </ac:spMkLst>
        </pc:spChg>
        <pc:spChg chg="mod">
          <ac:chgData name="Natalia Skalkogianni (ATH)" userId="S::natalia.skalkogianni@eldoradogold.com::2bf0de59-3b65-44fe-afa0-adc6e8d32eae" providerId="AD" clId="Web-{255D3C90-6583-542F-84E8-B3034CBA8D53}" dt="2024-11-15T14:57:13.242" v="222"/>
          <ac:spMkLst>
            <pc:docMk/>
            <pc:sldMk cId="1163970992" sldId="2145707580"/>
            <ac:spMk id="85" creationId="{12D81C25-3177-AEDE-2E18-04318C42A502}"/>
          </ac:spMkLst>
        </pc:spChg>
        <pc:spChg chg="mod">
          <ac:chgData name="Natalia Skalkogianni (ATH)" userId="S::natalia.skalkogianni@eldoradogold.com::2bf0de59-3b65-44fe-afa0-adc6e8d32eae" providerId="AD" clId="Web-{255D3C90-6583-542F-84E8-B3034CBA8D53}" dt="2024-11-15T14:55:49.615" v="209"/>
          <ac:spMkLst>
            <pc:docMk/>
            <pc:sldMk cId="1163970992" sldId="2145707580"/>
            <ac:spMk id="86" creationId="{0D9BA83C-43E2-07E3-1BB3-0B46088E95F9}"/>
          </ac:spMkLst>
        </pc:spChg>
        <pc:spChg chg="mod">
          <ac:chgData name="Natalia Skalkogianni (ATH)" userId="S::natalia.skalkogianni@eldoradogold.com::2bf0de59-3b65-44fe-afa0-adc6e8d32eae" providerId="AD" clId="Web-{255D3C90-6583-542F-84E8-B3034CBA8D53}" dt="2024-11-15T14:56:58.569" v="219"/>
          <ac:spMkLst>
            <pc:docMk/>
            <pc:sldMk cId="1163970992" sldId="2145707580"/>
            <ac:spMk id="87" creationId="{43F1CCBD-2C7F-6443-0E63-F4B7D5D78157}"/>
          </ac:spMkLst>
        </pc:spChg>
        <pc:spChg chg="mod">
          <ac:chgData name="Natalia Skalkogianni (ATH)" userId="S::natalia.skalkogianni@eldoradogold.com::2bf0de59-3b65-44fe-afa0-adc6e8d32eae" providerId="AD" clId="Web-{255D3C90-6583-542F-84E8-B3034CBA8D53}" dt="2024-11-15T14:57:09.476" v="221"/>
          <ac:spMkLst>
            <pc:docMk/>
            <pc:sldMk cId="1163970992" sldId="2145707580"/>
            <ac:spMk id="90" creationId="{F419414A-A3C1-7D0A-7795-FF474F21E168}"/>
          </ac:spMkLst>
        </pc:spChg>
        <pc:spChg chg="mod">
          <ac:chgData name="Natalia Skalkogianni (ATH)" userId="S::natalia.skalkogianni@eldoradogold.com::2bf0de59-3b65-44fe-afa0-adc6e8d32eae" providerId="AD" clId="Web-{255D3C90-6583-542F-84E8-B3034CBA8D53}" dt="2024-11-15T15:42:16.779" v="1139" actId="20577"/>
          <ac:spMkLst>
            <pc:docMk/>
            <pc:sldMk cId="1163970992" sldId="2145707580"/>
            <ac:spMk id="95" creationId="{35B1B7C3-6977-6761-F55C-A322E19CF6EA}"/>
          </ac:spMkLst>
        </pc:spChg>
        <pc:grpChg chg="del">
          <ac:chgData name="Natalia Skalkogianni (ATH)" userId="S::natalia.skalkogianni@eldoradogold.com::2bf0de59-3b65-44fe-afa0-adc6e8d32eae" providerId="AD" clId="Web-{255D3C90-6583-542F-84E8-B3034CBA8D53}" dt="2024-11-15T15:00:29.528" v="278"/>
          <ac:grpSpMkLst>
            <pc:docMk/>
            <pc:sldMk cId="1163970992" sldId="2145707580"/>
            <ac:grpSpMk id="12" creationId="{998C6F57-2B0F-7E22-C840-A6472BBCAB9A}"/>
          </ac:grpSpMkLst>
        </pc:grpChg>
        <pc:grpChg chg="mod">
          <ac:chgData name="Natalia Skalkogianni (ATH)" userId="S::natalia.skalkogianni@eldoradogold.com::2bf0de59-3b65-44fe-afa0-adc6e8d32eae" providerId="AD" clId="Web-{255D3C90-6583-542F-84E8-B3034CBA8D53}" dt="2024-11-15T15:31:27.363" v="748" actId="1076"/>
          <ac:grpSpMkLst>
            <pc:docMk/>
            <pc:sldMk cId="1163970992" sldId="2145707580"/>
            <ac:grpSpMk id="13" creationId="{93B916AF-704D-32D1-172C-18F5CA1FFC33}"/>
          </ac:grpSpMkLst>
        </pc:grpChg>
        <pc:grpChg chg="mod">
          <ac:chgData name="Natalia Skalkogianni (ATH)" userId="S::natalia.skalkogianni@eldoradogold.com::2bf0de59-3b65-44fe-afa0-adc6e8d32eae" providerId="AD" clId="Web-{255D3C90-6583-542F-84E8-B3034CBA8D53}" dt="2024-11-15T15:31:34.238" v="750" actId="1076"/>
          <ac:grpSpMkLst>
            <pc:docMk/>
            <pc:sldMk cId="1163970992" sldId="2145707580"/>
            <ac:grpSpMk id="31" creationId="{9C3F78FB-2B1D-F659-7FE7-0F92886CE20B}"/>
          </ac:grpSpMkLst>
        </pc:grpChg>
        <pc:grpChg chg="mod">
          <ac:chgData name="Natalia Skalkogianni (ATH)" userId="S::natalia.skalkogianni@eldoradogold.com::2bf0de59-3b65-44fe-afa0-adc6e8d32eae" providerId="AD" clId="Web-{255D3C90-6583-542F-84E8-B3034CBA8D53}" dt="2024-11-15T15:02:21.781" v="303" actId="1076"/>
          <ac:grpSpMkLst>
            <pc:docMk/>
            <pc:sldMk cId="1163970992" sldId="2145707580"/>
            <ac:grpSpMk id="36" creationId="{4FEB6CC1-D65B-8C46-B9BC-E5EAE597C4E5}"/>
          </ac:grpSpMkLst>
        </pc:grpChg>
        <pc:grpChg chg="mod">
          <ac:chgData name="Natalia Skalkogianni (ATH)" userId="S::natalia.skalkogianni@eldoradogold.com::2bf0de59-3b65-44fe-afa0-adc6e8d32eae" providerId="AD" clId="Web-{255D3C90-6583-542F-84E8-B3034CBA8D53}" dt="2024-11-15T15:02:17.843" v="301" actId="1076"/>
          <ac:grpSpMkLst>
            <pc:docMk/>
            <pc:sldMk cId="1163970992" sldId="2145707580"/>
            <ac:grpSpMk id="62" creationId="{38BEE4FD-43DB-37DB-7DDC-FF1AA413EF7E}"/>
          </ac:grpSpMkLst>
        </pc:grpChg>
        <pc:grpChg chg="mod">
          <ac:chgData name="Natalia Skalkogianni (ATH)" userId="S::natalia.skalkogianni@eldoradogold.com::2bf0de59-3b65-44fe-afa0-adc6e8d32eae" providerId="AD" clId="Web-{255D3C90-6583-542F-84E8-B3034CBA8D53}" dt="2024-11-15T15:02:14.218" v="299" actId="1076"/>
          <ac:grpSpMkLst>
            <pc:docMk/>
            <pc:sldMk cId="1163970992" sldId="2145707580"/>
            <ac:grpSpMk id="77" creationId="{88236D92-2A2D-0A8C-B6DE-18E9812D9332}"/>
          </ac:grpSpMkLst>
        </pc:grpChg>
      </pc:sldChg>
      <pc:sldChg chg="addSp delSp modSp del ord">
        <pc:chgData name="Natalia Skalkogianni (ATH)" userId="S::natalia.skalkogianni@eldoradogold.com::2bf0de59-3b65-44fe-afa0-adc6e8d32eae" providerId="AD" clId="Web-{255D3C90-6583-542F-84E8-B3034CBA8D53}" dt="2024-11-15T16:33:01.260" v="2142"/>
        <pc:sldMkLst>
          <pc:docMk/>
          <pc:sldMk cId="2766675875" sldId="2145707689"/>
        </pc:sldMkLst>
        <pc:spChg chg="mod">
          <ac:chgData name="Natalia Skalkogianni (ATH)" userId="S::natalia.skalkogianni@eldoradogold.com::2bf0de59-3b65-44fe-afa0-adc6e8d32eae" providerId="AD" clId="Web-{255D3C90-6583-542F-84E8-B3034CBA8D53}" dt="2024-11-15T15:53:26.273" v="1593" actId="1076"/>
          <ac:spMkLst>
            <pc:docMk/>
            <pc:sldMk cId="2766675875" sldId="2145707689"/>
            <ac:spMk id="9" creationId="{34844BDA-DE84-2361-2042-29D808B60142}"/>
          </ac:spMkLst>
        </pc:spChg>
        <pc:spChg chg="mod">
          <ac:chgData name="Natalia Skalkogianni (ATH)" userId="S::natalia.skalkogianni@eldoradogold.com::2bf0de59-3b65-44fe-afa0-adc6e8d32eae" providerId="AD" clId="Web-{255D3C90-6583-542F-84E8-B3034CBA8D53}" dt="2024-11-15T15:53:04.944" v="1589"/>
          <ac:spMkLst>
            <pc:docMk/>
            <pc:sldMk cId="2766675875" sldId="2145707689"/>
            <ac:spMk id="10" creationId="{40990C76-0633-052F-051C-6F41DF620397}"/>
          </ac:spMkLst>
        </pc:spChg>
        <pc:spChg chg="del mod">
          <ac:chgData name="Natalia Skalkogianni (ATH)" userId="S::natalia.skalkogianni@eldoradogold.com::2bf0de59-3b65-44fe-afa0-adc6e8d32eae" providerId="AD" clId="Web-{255D3C90-6583-542F-84E8-B3034CBA8D53}" dt="2024-11-15T15:55:19.805" v="1616"/>
          <ac:spMkLst>
            <pc:docMk/>
            <pc:sldMk cId="2766675875" sldId="2145707689"/>
            <ac:spMk id="13" creationId="{AC64304B-6FBF-315C-BA9A-E563D6D14FAC}"/>
          </ac:spMkLst>
        </pc:spChg>
        <pc:spChg chg="mod">
          <ac:chgData name="Natalia Skalkogianni (ATH)" userId="S::natalia.skalkogianni@eldoradogold.com::2bf0de59-3b65-44fe-afa0-adc6e8d32eae" providerId="AD" clId="Web-{255D3C90-6583-542F-84E8-B3034CBA8D53}" dt="2024-11-15T15:57:59.823" v="1652"/>
          <ac:spMkLst>
            <pc:docMk/>
            <pc:sldMk cId="2766675875" sldId="2145707689"/>
            <ac:spMk id="23" creationId="{1FFF0A8B-31B3-19DD-8140-3114B0BB2F03}"/>
          </ac:spMkLst>
        </pc:spChg>
        <pc:spChg chg="mod">
          <ac:chgData name="Natalia Skalkogianni (ATH)" userId="S::natalia.skalkogianni@eldoradogold.com::2bf0de59-3b65-44fe-afa0-adc6e8d32eae" providerId="AD" clId="Web-{255D3C90-6583-542F-84E8-B3034CBA8D53}" dt="2024-11-15T15:58:51.183" v="1662" actId="1076"/>
          <ac:spMkLst>
            <pc:docMk/>
            <pc:sldMk cId="2766675875" sldId="2145707689"/>
            <ac:spMk id="24" creationId="{8AF5B178-4A9E-4BB2-85E7-1734790D7681}"/>
          </ac:spMkLst>
        </pc:spChg>
        <pc:spChg chg="mod">
          <ac:chgData name="Natalia Skalkogianni (ATH)" userId="S::natalia.skalkogianni@eldoradogold.com::2bf0de59-3b65-44fe-afa0-adc6e8d32eae" providerId="AD" clId="Web-{255D3C90-6583-542F-84E8-B3034CBA8D53}" dt="2024-11-15T15:54:13.227" v="1599" actId="14100"/>
          <ac:spMkLst>
            <pc:docMk/>
            <pc:sldMk cId="2766675875" sldId="2145707689"/>
            <ac:spMk id="29" creationId="{B5AE122D-B88D-9CED-8722-B43FF88A8E82}"/>
          </ac:spMkLst>
        </pc:spChg>
        <pc:spChg chg="mod">
          <ac:chgData name="Natalia Skalkogianni (ATH)" userId="S::natalia.skalkogianni@eldoradogold.com::2bf0de59-3b65-44fe-afa0-adc6e8d32eae" providerId="AD" clId="Web-{255D3C90-6583-542F-84E8-B3034CBA8D53}" dt="2024-11-15T16:00:51.341" v="1697" actId="1076"/>
          <ac:spMkLst>
            <pc:docMk/>
            <pc:sldMk cId="2766675875" sldId="2145707689"/>
            <ac:spMk id="32" creationId="{51D4A757-B6D8-7B57-5B22-E1B552405FB5}"/>
          </ac:spMkLst>
        </pc:spChg>
        <pc:spChg chg="mod">
          <ac:chgData name="Natalia Skalkogianni (ATH)" userId="S::natalia.skalkogianni@eldoradogold.com::2bf0de59-3b65-44fe-afa0-adc6e8d32eae" providerId="AD" clId="Web-{255D3C90-6583-542F-84E8-B3034CBA8D53}" dt="2024-11-15T15:54:40.039" v="1608" actId="20577"/>
          <ac:spMkLst>
            <pc:docMk/>
            <pc:sldMk cId="2766675875" sldId="2145707689"/>
            <ac:spMk id="35" creationId="{8F7875F2-7112-3A5E-E5A3-F5CD74805EC4}"/>
          </ac:spMkLst>
        </pc:spChg>
        <pc:spChg chg="mod">
          <ac:chgData name="Natalia Skalkogianni (ATH)" userId="S::natalia.skalkogianni@eldoradogold.com::2bf0de59-3b65-44fe-afa0-adc6e8d32eae" providerId="AD" clId="Web-{255D3C90-6583-542F-84E8-B3034CBA8D53}" dt="2024-11-15T16:00:14.763" v="1684" actId="20577"/>
          <ac:spMkLst>
            <pc:docMk/>
            <pc:sldMk cId="2766675875" sldId="2145707689"/>
            <ac:spMk id="39" creationId="{339AF413-B83F-630D-FED1-DAA4DC138FCA}"/>
          </ac:spMkLst>
        </pc:spChg>
        <pc:spChg chg="del">
          <ac:chgData name="Natalia Skalkogianni (ATH)" userId="S::natalia.skalkogianni@eldoradogold.com::2bf0de59-3b65-44fe-afa0-adc6e8d32eae" providerId="AD" clId="Web-{255D3C90-6583-542F-84E8-B3034CBA8D53}" dt="2024-11-15T15:54:55.571" v="1609"/>
          <ac:spMkLst>
            <pc:docMk/>
            <pc:sldMk cId="2766675875" sldId="2145707689"/>
            <ac:spMk id="52" creationId="{68180EC2-09CD-36BD-1F71-AF1B7F162E80}"/>
          </ac:spMkLst>
        </pc:spChg>
        <pc:spChg chg="del topLvl">
          <ac:chgData name="Natalia Skalkogianni (ATH)" userId="S::natalia.skalkogianni@eldoradogold.com::2bf0de59-3b65-44fe-afa0-adc6e8d32eae" providerId="AD" clId="Web-{255D3C90-6583-542F-84E8-B3034CBA8D53}" dt="2024-11-15T15:59:32.059" v="1672"/>
          <ac:spMkLst>
            <pc:docMk/>
            <pc:sldMk cId="2766675875" sldId="2145707689"/>
            <ac:spMk id="57" creationId="{BE91E8A2-9C96-F7B8-FBF4-F74AAA083B2D}"/>
          </ac:spMkLst>
        </pc:spChg>
        <pc:spChg chg="del">
          <ac:chgData name="Natalia Skalkogianni (ATH)" userId="S::natalia.skalkogianni@eldoradogold.com::2bf0de59-3b65-44fe-afa0-adc6e8d32eae" providerId="AD" clId="Web-{255D3C90-6583-542F-84E8-B3034CBA8D53}" dt="2024-11-15T15:54:56.477" v="1610"/>
          <ac:spMkLst>
            <pc:docMk/>
            <pc:sldMk cId="2766675875" sldId="2145707689"/>
            <ac:spMk id="60" creationId="{D5D6439A-884C-E537-C380-A3C2520876CB}"/>
          </ac:spMkLst>
        </pc:spChg>
        <pc:spChg chg="mod">
          <ac:chgData name="Natalia Skalkogianni (ATH)" userId="S::natalia.skalkogianni@eldoradogold.com::2bf0de59-3b65-44fe-afa0-adc6e8d32eae" providerId="AD" clId="Web-{255D3C90-6583-542F-84E8-B3034CBA8D53}" dt="2024-11-15T16:00:22.560" v="1687" actId="20577"/>
          <ac:spMkLst>
            <pc:docMk/>
            <pc:sldMk cId="2766675875" sldId="2145707689"/>
            <ac:spMk id="62" creationId="{579C0B88-0B51-B054-BCCD-94BDE1A8F262}"/>
          </ac:spMkLst>
        </pc:spChg>
        <pc:spChg chg="del">
          <ac:chgData name="Natalia Skalkogianni (ATH)" userId="S::natalia.skalkogianni@eldoradogold.com::2bf0de59-3b65-44fe-afa0-adc6e8d32eae" providerId="AD" clId="Web-{255D3C90-6583-542F-84E8-B3034CBA8D53}" dt="2024-11-15T15:54:57.743" v="1611"/>
          <ac:spMkLst>
            <pc:docMk/>
            <pc:sldMk cId="2766675875" sldId="2145707689"/>
            <ac:spMk id="127" creationId="{89670953-90EE-1840-E5E8-327068ABDADF}"/>
          </ac:spMkLst>
        </pc:spChg>
        <pc:spChg chg="mod">
          <ac:chgData name="Natalia Skalkogianni (ATH)" userId="S::natalia.skalkogianni@eldoradogold.com::2bf0de59-3b65-44fe-afa0-adc6e8d32eae" providerId="AD" clId="Web-{255D3C90-6583-542F-84E8-B3034CBA8D53}" dt="2024-11-15T15:53:44.585" v="1594"/>
          <ac:spMkLst>
            <pc:docMk/>
            <pc:sldMk cId="2766675875" sldId="2145707689"/>
            <ac:spMk id="179" creationId="{AD452BC1-D8E1-7F7B-7B49-8CB11CF2F7B3}"/>
          </ac:spMkLst>
        </pc:spChg>
        <pc:grpChg chg="mod">
          <ac:chgData name="Natalia Skalkogianni (ATH)" userId="S::natalia.skalkogianni@eldoradogold.com::2bf0de59-3b65-44fe-afa0-adc6e8d32eae" providerId="AD" clId="Web-{255D3C90-6583-542F-84E8-B3034CBA8D53}" dt="2024-11-15T15:58:14.667" v="1657" actId="1076"/>
          <ac:grpSpMkLst>
            <pc:docMk/>
            <pc:sldMk cId="2766675875" sldId="2145707689"/>
            <ac:grpSpMk id="22" creationId="{26895374-1170-F129-85B3-0ECE48AB0960}"/>
          </ac:grpSpMkLst>
        </pc:grpChg>
        <pc:grpChg chg="add del mod">
          <ac:chgData name="Natalia Skalkogianni (ATH)" userId="S::natalia.skalkogianni@eldoradogold.com::2bf0de59-3b65-44fe-afa0-adc6e8d32eae" providerId="AD" clId="Web-{255D3C90-6583-542F-84E8-B3034CBA8D53}" dt="2024-11-15T15:59:30.309" v="1671"/>
          <ac:grpSpMkLst>
            <pc:docMk/>
            <pc:sldMk cId="2766675875" sldId="2145707689"/>
            <ac:grpSpMk id="27" creationId="{BC9AF26E-7B38-32DE-8B9E-325FBD72DE4C}"/>
          </ac:grpSpMkLst>
        </pc:grpChg>
        <pc:grpChg chg="add del mod">
          <ac:chgData name="Natalia Skalkogianni (ATH)" userId="S::natalia.skalkogianni@eldoradogold.com::2bf0de59-3b65-44fe-afa0-adc6e8d32eae" providerId="AD" clId="Web-{255D3C90-6583-542F-84E8-B3034CBA8D53}" dt="2024-11-15T15:59:33.153" v="1673"/>
          <ac:grpSpMkLst>
            <pc:docMk/>
            <pc:sldMk cId="2766675875" sldId="2145707689"/>
            <ac:grpSpMk id="37" creationId="{B1FB418C-0D9E-88B1-D47E-43E643A1E6E3}"/>
          </ac:grpSpMkLst>
        </pc:grpChg>
        <pc:grpChg chg="add del mod">
          <ac:chgData name="Natalia Skalkogianni (ATH)" userId="S::natalia.skalkogianni@eldoradogold.com::2bf0de59-3b65-44fe-afa0-adc6e8d32eae" providerId="AD" clId="Web-{255D3C90-6583-542F-84E8-B3034CBA8D53}" dt="2024-11-15T15:59:32.059" v="1672"/>
          <ac:grpSpMkLst>
            <pc:docMk/>
            <pc:sldMk cId="2766675875" sldId="2145707689"/>
            <ac:grpSpMk id="53" creationId="{B017A5B0-2C63-8AB0-AAF5-FAB829F98695}"/>
          </ac:grpSpMkLst>
        </pc:grpChg>
        <pc:grpChg chg="add del mod">
          <ac:chgData name="Natalia Skalkogianni (ATH)" userId="S::natalia.skalkogianni@eldoradogold.com::2bf0de59-3b65-44fe-afa0-adc6e8d32eae" providerId="AD" clId="Web-{255D3C90-6583-542F-84E8-B3034CBA8D53}" dt="2024-11-15T16:00:23.278" v="1688"/>
          <ac:grpSpMkLst>
            <pc:docMk/>
            <pc:sldMk cId="2766675875" sldId="2145707689"/>
            <ac:grpSpMk id="58" creationId="{739491C2-DB26-AD3C-0AFF-D83C78853E12}"/>
          </ac:grpSpMkLst>
        </pc:grpChg>
        <pc:grpChg chg="add del mod">
          <ac:chgData name="Natalia Skalkogianni (ATH)" userId="S::natalia.skalkogianni@eldoradogold.com::2bf0de59-3b65-44fe-afa0-adc6e8d32eae" providerId="AD" clId="Web-{255D3C90-6583-542F-84E8-B3034CBA8D53}" dt="2024-11-15T16:00:24.419" v="1689"/>
          <ac:grpSpMkLst>
            <pc:docMk/>
            <pc:sldMk cId="2766675875" sldId="2145707689"/>
            <ac:grpSpMk id="63" creationId="{BE618BD2-224F-820D-2AEE-E1057C8863B9}"/>
          </ac:grpSpMkLst>
        </pc:grpChg>
        <pc:grpChg chg="add mod">
          <ac:chgData name="Natalia Skalkogianni (ATH)" userId="S::natalia.skalkogianni@eldoradogold.com::2bf0de59-3b65-44fe-afa0-adc6e8d32eae" providerId="AD" clId="Web-{255D3C90-6583-542F-84E8-B3034CBA8D53}" dt="2024-11-15T16:00:35.419" v="1692" actId="1076"/>
          <ac:grpSpMkLst>
            <pc:docMk/>
            <pc:sldMk cId="2766675875" sldId="2145707689"/>
            <ac:grpSpMk id="66" creationId="{AEB08854-DD38-860F-2232-D72939155047}"/>
          </ac:grpSpMkLst>
        </pc:grpChg>
        <pc:grpChg chg="add mod">
          <ac:chgData name="Natalia Skalkogianni (ATH)" userId="S::natalia.skalkogianni@eldoradogold.com::2bf0de59-3b65-44fe-afa0-adc6e8d32eae" providerId="AD" clId="Web-{255D3C90-6583-542F-84E8-B3034CBA8D53}" dt="2024-11-15T16:00:35.466" v="1693" actId="1076"/>
          <ac:grpSpMkLst>
            <pc:docMk/>
            <pc:sldMk cId="2766675875" sldId="2145707689"/>
            <ac:grpSpMk id="69" creationId="{388E74E5-A507-7C73-5B83-053406E2F950}"/>
          </ac:grpSpMkLst>
        </pc:grpChg>
        <pc:grpChg chg="add del">
          <ac:chgData name="Natalia Skalkogianni (ATH)" userId="S::natalia.skalkogianni@eldoradogold.com::2bf0de59-3b65-44fe-afa0-adc6e8d32eae" providerId="AD" clId="Web-{255D3C90-6583-542F-84E8-B3034CBA8D53}" dt="2024-11-15T16:00:43.107" v="1695"/>
          <ac:grpSpMkLst>
            <pc:docMk/>
            <pc:sldMk cId="2766675875" sldId="2145707689"/>
            <ac:grpSpMk id="72" creationId="{B0341541-96BA-E3DA-5242-25C99A83FFFE}"/>
          </ac:grpSpMkLst>
        </pc:grpChg>
        <pc:grpChg chg="add del">
          <ac:chgData name="Natalia Skalkogianni (ATH)" userId="S::natalia.skalkogianni@eldoradogold.com::2bf0de59-3b65-44fe-afa0-adc6e8d32eae" providerId="AD" clId="Web-{255D3C90-6583-542F-84E8-B3034CBA8D53}" dt="2024-11-15T16:00:56.638" v="1699"/>
          <ac:grpSpMkLst>
            <pc:docMk/>
            <pc:sldMk cId="2766675875" sldId="2145707689"/>
            <ac:grpSpMk id="75" creationId="{ABCF07AF-0252-CFD5-81E3-C44822207F19}"/>
          </ac:grpSpMkLst>
        </pc:grpChg>
        <pc:grpChg chg="mod">
          <ac:chgData name="Natalia Skalkogianni (ATH)" userId="S::natalia.skalkogianni@eldoradogold.com::2bf0de59-3b65-44fe-afa0-adc6e8d32eae" providerId="AD" clId="Web-{255D3C90-6583-542F-84E8-B3034CBA8D53}" dt="2024-11-15T16:00:48.076" v="1696" actId="1076"/>
          <ac:grpSpMkLst>
            <pc:docMk/>
            <pc:sldMk cId="2766675875" sldId="2145707689"/>
            <ac:grpSpMk id="125" creationId="{D20DF33F-C459-7D4F-96B5-C59A965AFCAD}"/>
          </ac:grpSpMkLst>
        </pc:grpChg>
        <pc:picChg chg="add mod">
          <ac:chgData name="Natalia Skalkogianni (ATH)" userId="S::natalia.skalkogianni@eldoradogold.com::2bf0de59-3b65-44fe-afa0-adc6e8d32eae" providerId="AD" clId="Web-{255D3C90-6583-542F-84E8-B3034CBA8D53}" dt="2024-11-15T15:54:17.867" v="1602" actId="1076"/>
          <ac:picMkLst>
            <pc:docMk/>
            <pc:sldMk cId="2766675875" sldId="2145707689"/>
            <ac:picMk id="26" creationId="{865E9642-4F21-A3B5-8874-1A62C8537232}"/>
          </ac:picMkLst>
        </pc:picChg>
        <pc:picChg chg="mod">
          <ac:chgData name="Natalia Skalkogianni (ATH)" userId="S::natalia.skalkogianni@eldoradogold.com::2bf0de59-3b65-44fe-afa0-adc6e8d32eae" providerId="AD" clId="Web-{255D3C90-6583-542F-84E8-B3034CBA8D53}" dt="2024-11-15T15:57:44.667" v="1650"/>
          <ac:picMkLst>
            <pc:docMk/>
            <pc:sldMk cId="2766675875" sldId="2145707689"/>
            <ac:picMk id="46" creationId="{FEA13929-69CE-E6B0-3446-AF3940F7E910}"/>
          </ac:picMkLst>
        </pc:picChg>
        <pc:picChg chg="del topLvl">
          <ac:chgData name="Natalia Skalkogianni (ATH)" userId="S::natalia.skalkogianni@eldoradogold.com::2bf0de59-3b65-44fe-afa0-adc6e8d32eae" providerId="AD" clId="Web-{255D3C90-6583-542F-84E8-B3034CBA8D53}" dt="2024-11-15T15:59:34.965" v="1674"/>
          <ac:picMkLst>
            <pc:docMk/>
            <pc:sldMk cId="2766675875" sldId="2145707689"/>
            <ac:picMk id="56" creationId="{DB4AC17A-02E8-9B92-98EC-87E837297C40}"/>
          </ac:picMkLst>
        </pc:picChg>
        <pc:picChg chg="del mod">
          <ac:chgData name="Natalia Skalkogianni (ATH)" userId="S::natalia.skalkogianni@eldoradogold.com::2bf0de59-3b65-44fe-afa0-adc6e8d32eae" providerId="AD" clId="Web-{255D3C90-6583-542F-84E8-B3034CBA8D53}" dt="2024-11-15T15:55:18.759" v="1615"/>
          <ac:picMkLst>
            <pc:docMk/>
            <pc:sldMk cId="2766675875" sldId="2145707689"/>
            <ac:picMk id="86" creationId="{6BA8B091-303D-442B-0EDF-C3CE3AE1F346}"/>
          </ac:picMkLst>
        </pc:picChg>
      </pc:sldChg>
      <pc:sldChg chg="addSp delSp modSp add del">
        <pc:chgData name="Natalia Skalkogianni (ATH)" userId="S::natalia.skalkogianni@eldoradogold.com::2bf0de59-3b65-44fe-afa0-adc6e8d32eae" providerId="AD" clId="Web-{255D3C90-6583-542F-84E8-B3034CBA8D53}" dt="2024-11-15T16:47:37.631" v="2347"/>
        <pc:sldMkLst>
          <pc:docMk/>
          <pc:sldMk cId="1618692924" sldId="2145707734"/>
        </pc:sldMkLst>
        <pc:spChg chg="mod">
          <ac:chgData name="Natalia Skalkogianni (ATH)" userId="S::natalia.skalkogianni@eldoradogold.com::2bf0de59-3b65-44fe-afa0-adc6e8d32eae" providerId="AD" clId="Web-{255D3C90-6583-542F-84E8-B3034CBA8D53}" dt="2024-11-15T16:36:18.278" v="2167"/>
          <ac:spMkLst>
            <pc:docMk/>
            <pc:sldMk cId="1618692924" sldId="2145707734"/>
            <ac:spMk id="2" creationId="{EC07BCF3-38AA-DDF0-A886-BB1110444617}"/>
          </ac:spMkLst>
        </pc:spChg>
        <pc:spChg chg="del">
          <ac:chgData name="Natalia Skalkogianni (ATH)" userId="S::natalia.skalkogianni@eldoradogold.com::2bf0de59-3b65-44fe-afa0-adc6e8d32eae" providerId="AD" clId="Web-{255D3C90-6583-542F-84E8-B3034CBA8D53}" dt="2024-11-15T16:37:22.060" v="2174"/>
          <ac:spMkLst>
            <pc:docMk/>
            <pc:sldMk cId="1618692924" sldId="2145707734"/>
            <ac:spMk id="6" creationId="{D40107A3-0B89-A50E-6016-1C284DB7F6F4}"/>
          </ac:spMkLst>
        </pc:spChg>
        <pc:spChg chg="add del mod">
          <ac:chgData name="Natalia Skalkogianni (ATH)" userId="S::natalia.skalkogianni@eldoradogold.com::2bf0de59-3b65-44fe-afa0-adc6e8d32eae" providerId="AD" clId="Web-{255D3C90-6583-542F-84E8-B3034CBA8D53}" dt="2024-11-15T16:45:07.926" v="2330"/>
          <ac:spMkLst>
            <pc:docMk/>
            <pc:sldMk cId="1618692924" sldId="2145707734"/>
            <ac:spMk id="7" creationId="{33E162ED-DAD9-F7EE-D698-507FAABC8DF6}"/>
          </ac:spMkLst>
        </pc:spChg>
        <pc:spChg chg="mod">
          <ac:chgData name="Natalia Skalkogianni (ATH)" userId="S::natalia.skalkogianni@eldoradogold.com::2bf0de59-3b65-44fe-afa0-adc6e8d32eae" providerId="AD" clId="Web-{255D3C90-6583-542F-84E8-B3034CBA8D53}" dt="2024-11-15T16:35:40.793" v="2160" actId="20577"/>
          <ac:spMkLst>
            <pc:docMk/>
            <pc:sldMk cId="1618692924" sldId="2145707734"/>
            <ac:spMk id="29" creationId="{11DDDBF0-DCAB-E61C-4495-8AF88DB82657}"/>
          </ac:spMkLst>
        </pc:spChg>
        <pc:spChg chg="add del mod">
          <ac:chgData name="Natalia Skalkogianni (ATH)" userId="S::natalia.skalkogianni@eldoradogold.com::2bf0de59-3b65-44fe-afa0-adc6e8d32eae" providerId="AD" clId="Web-{255D3C90-6583-542F-84E8-B3034CBA8D53}" dt="2024-11-15T16:37:51.186" v="2179" actId="1076"/>
          <ac:spMkLst>
            <pc:docMk/>
            <pc:sldMk cId="1618692924" sldId="2145707734"/>
            <ac:spMk id="38" creationId="{FCFE57DE-9BEF-2A13-206A-42799E8EF8F2}"/>
          </ac:spMkLst>
        </pc:spChg>
        <pc:grpChg chg="del">
          <ac:chgData name="Natalia Skalkogianni (ATH)" userId="S::natalia.skalkogianni@eldoradogold.com::2bf0de59-3b65-44fe-afa0-adc6e8d32eae" providerId="AD" clId="Web-{255D3C90-6583-542F-84E8-B3034CBA8D53}" dt="2024-11-15T16:37:22.951" v="2175"/>
          <ac:grpSpMkLst>
            <pc:docMk/>
            <pc:sldMk cId="1618692924" sldId="2145707734"/>
            <ac:grpSpMk id="13" creationId="{2A765939-97CE-04BE-05D5-AFFAB7CE524F}"/>
          </ac:grpSpMkLst>
        </pc:grpChg>
        <pc:picChg chg="mod">
          <ac:chgData name="Natalia Skalkogianni (ATH)" userId="S::natalia.skalkogianni@eldoradogold.com::2bf0de59-3b65-44fe-afa0-adc6e8d32eae" providerId="AD" clId="Web-{255D3C90-6583-542F-84E8-B3034CBA8D53}" dt="2024-11-15T16:37:28.342" v="2176" actId="14100"/>
          <ac:picMkLst>
            <pc:docMk/>
            <pc:sldMk cId="1618692924" sldId="2145707734"/>
            <ac:picMk id="3" creationId="{1B583981-256E-1BEF-B3CA-CE968FF8DD7E}"/>
          </ac:picMkLst>
        </pc:picChg>
        <pc:picChg chg="del">
          <ac:chgData name="Natalia Skalkogianni (ATH)" userId="S::natalia.skalkogianni@eldoradogold.com::2bf0de59-3b65-44fe-afa0-adc6e8d32eae" providerId="AD" clId="Web-{255D3C90-6583-542F-84E8-B3034CBA8D53}" dt="2024-11-15T16:37:18.295" v="2173"/>
          <ac:picMkLst>
            <pc:docMk/>
            <pc:sldMk cId="1618692924" sldId="2145707734"/>
            <ac:picMk id="5" creationId="{29980573-AC82-9A2A-964F-2B50928C20F1}"/>
          </ac:picMkLst>
        </pc:picChg>
        <pc:picChg chg="add del">
          <ac:chgData name="Natalia Skalkogianni (ATH)" userId="S::natalia.skalkogianni@eldoradogold.com::2bf0de59-3b65-44fe-afa0-adc6e8d32eae" providerId="AD" clId="Web-{255D3C90-6583-542F-84E8-B3034CBA8D53}" dt="2024-11-15T16:36:49.998" v="2172"/>
          <ac:picMkLst>
            <pc:docMk/>
            <pc:sldMk cId="1618692924" sldId="2145707734"/>
            <ac:picMk id="15" creationId="{59088704-1095-B6F7-1FFC-1146A48E518C}"/>
          </ac:picMkLst>
        </pc:picChg>
      </pc:sldChg>
      <pc:sldChg chg="addSp modSp">
        <pc:chgData name="Natalia Skalkogianni (ATH)" userId="S::natalia.skalkogianni@eldoradogold.com::2bf0de59-3b65-44fe-afa0-adc6e8d32eae" providerId="AD" clId="Web-{255D3C90-6583-542F-84E8-B3034CBA8D53}" dt="2024-11-15T14:54:54.629" v="208" actId="1076"/>
        <pc:sldMkLst>
          <pc:docMk/>
          <pc:sldMk cId="2448827716" sldId="2145707736"/>
        </pc:sldMkLst>
        <pc:spChg chg="add mod">
          <ac:chgData name="Natalia Skalkogianni (ATH)" userId="S::natalia.skalkogianni@eldoradogold.com::2bf0de59-3b65-44fe-afa0-adc6e8d32eae" providerId="AD" clId="Web-{255D3C90-6583-542F-84E8-B3034CBA8D53}" dt="2024-11-15T14:54:36.316" v="204"/>
          <ac:spMkLst>
            <pc:docMk/>
            <pc:sldMk cId="2448827716" sldId="2145707736"/>
            <ac:spMk id="2" creationId="{55CA005D-20A3-A294-FF9F-8770DDE8A8F3}"/>
          </ac:spMkLst>
        </pc:spChg>
        <pc:spChg chg="mod">
          <ac:chgData name="Natalia Skalkogianni (ATH)" userId="S::natalia.skalkogianni@eldoradogold.com::2bf0de59-3b65-44fe-afa0-adc6e8d32eae" providerId="AD" clId="Web-{255D3C90-6583-542F-84E8-B3034CBA8D53}" dt="2024-11-15T14:54:52.363" v="207" actId="1076"/>
          <ac:spMkLst>
            <pc:docMk/>
            <pc:sldMk cId="2448827716" sldId="2145707736"/>
            <ac:spMk id="4" creationId="{AD703E34-2E70-D0E2-6E04-D8CE003A9934}"/>
          </ac:spMkLst>
        </pc:spChg>
        <pc:picChg chg="mod">
          <ac:chgData name="Natalia Skalkogianni (ATH)" userId="S::natalia.skalkogianni@eldoradogold.com::2bf0de59-3b65-44fe-afa0-adc6e8d32eae" providerId="AD" clId="Web-{255D3C90-6583-542F-84E8-B3034CBA8D53}" dt="2024-11-15T14:54:41.644" v="205" actId="1076"/>
          <ac:picMkLst>
            <pc:docMk/>
            <pc:sldMk cId="2448827716" sldId="2145707736"/>
            <ac:picMk id="6" creationId="{8D8B524F-67E4-2504-B550-451B69F72612}"/>
          </ac:picMkLst>
        </pc:picChg>
        <pc:picChg chg="add mod">
          <ac:chgData name="Natalia Skalkogianni (ATH)" userId="S::natalia.skalkogianni@eldoradogold.com::2bf0de59-3b65-44fe-afa0-adc6e8d32eae" providerId="AD" clId="Web-{255D3C90-6583-542F-84E8-B3034CBA8D53}" dt="2024-11-15T14:54:54.629" v="208" actId="1076"/>
          <ac:picMkLst>
            <pc:docMk/>
            <pc:sldMk cId="2448827716" sldId="2145707736"/>
            <ac:picMk id="7" creationId="{F1FCFD9C-1A30-C370-76F0-CDEAF8589289}"/>
          </ac:picMkLst>
        </pc:picChg>
      </pc:sldChg>
      <pc:sldChg chg="addSp delSp modSp add replId">
        <pc:chgData name="Natalia Skalkogianni (ATH)" userId="S::natalia.skalkogianni@eldoradogold.com::2bf0de59-3b65-44fe-afa0-adc6e8d32eae" providerId="AD" clId="Web-{255D3C90-6583-542F-84E8-B3034CBA8D53}" dt="2024-11-15T15:51:28.646" v="1580" actId="1076"/>
        <pc:sldMkLst>
          <pc:docMk/>
          <pc:sldMk cId="2136070199" sldId="2145707737"/>
        </pc:sldMkLst>
        <pc:spChg chg="del">
          <ac:chgData name="Natalia Skalkogianni (ATH)" userId="S::natalia.skalkogianni@eldoradogold.com::2bf0de59-3b65-44fe-afa0-adc6e8d32eae" providerId="AD" clId="Web-{255D3C90-6583-542F-84E8-B3034CBA8D53}" dt="2024-11-15T15:43:42.514" v="1200"/>
          <ac:spMkLst>
            <pc:docMk/>
            <pc:sldMk cId="2136070199" sldId="2145707737"/>
            <ac:spMk id="2" creationId="{55CA005D-20A3-A294-FF9F-8770DDE8A8F3}"/>
          </ac:spMkLst>
        </pc:spChg>
        <pc:spChg chg="mod">
          <ac:chgData name="Natalia Skalkogianni (ATH)" userId="S::natalia.skalkogianni@eldoradogold.com::2bf0de59-3b65-44fe-afa0-adc6e8d32eae" providerId="AD" clId="Web-{255D3C90-6583-542F-84E8-B3034CBA8D53}" dt="2024-11-15T15:46:46.345" v="1343" actId="1076"/>
          <ac:spMkLst>
            <pc:docMk/>
            <pc:sldMk cId="2136070199" sldId="2145707737"/>
            <ac:spMk id="4" creationId="{AD703E34-2E70-D0E2-6E04-D8CE003A9934}"/>
          </ac:spMkLst>
        </pc:spChg>
        <pc:spChg chg="add del mod">
          <ac:chgData name="Natalia Skalkogianni (ATH)" userId="S::natalia.skalkogianni@eldoradogold.com::2bf0de59-3b65-44fe-afa0-adc6e8d32eae" providerId="AD" clId="Web-{255D3C90-6583-542F-84E8-B3034CBA8D53}" dt="2024-11-15T15:51:22.552" v="1579" actId="1076"/>
          <ac:spMkLst>
            <pc:docMk/>
            <pc:sldMk cId="2136070199" sldId="2145707737"/>
            <ac:spMk id="8" creationId="{B49CEE02-819A-72FE-AAD4-E2606569BA17}"/>
          </ac:spMkLst>
        </pc:spChg>
        <pc:picChg chg="del">
          <ac:chgData name="Natalia Skalkogianni (ATH)" userId="S::natalia.skalkogianni@eldoradogold.com::2bf0de59-3b65-44fe-afa0-adc6e8d32eae" providerId="AD" clId="Web-{255D3C90-6583-542F-84E8-B3034CBA8D53}" dt="2024-11-15T15:42:41.154" v="1143"/>
          <ac:picMkLst>
            <pc:docMk/>
            <pc:sldMk cId="2136070199" sldId="2145707737"/>
            <ac:picMk id="6" creationId="{8D8B524F-67E4-2504-B550-451B69F72612}"/>
          </ac:picMkLst>
        </pc:picChg>
        <pc:picChg chg="add del mod ord">
          <ac:chgData name="Natalia Skalkogianni (ATH)" userId="S::natalia.skalkogianni@eldoradogold.com::2bf0de59-3b65-44fe-afa0-adc6e8d32eae" providerId="AD" clId="Web-{255D3C90-6583-542F-84E8-B3034CBA8D53}" dt="2024-11-15T15:44:00.437" v="1208"/>
          <ac:picMkLst>
            <pc:docMk/>
            <pc:sldMk cId="2136070199" sldId="2145707737"/>
            <ac:picMk id="9" creationId="{99BA26DB-94DE-CF1D-CF75-8CFEE4AD70CD}"/>
          </ac:picMkLst>
        </pc:picChg>
        <pc:picChg chg="add mod">
          <ac:chgData name="Natalia Skalkogianni (ATH)" userId="S::natalia.skalkogianni@eldoradogold.com::2bf0de59-3b65-44fe-afa0-adc6e8d32eae" providerId="AD" clId="Web-{255D3C90-6583-542F-84E8-B3034CBA8D53}" dt="2024-11-15T15:51:28.646" v="1580" actId="1076"/>
          <ac:picMkLst>
            <pc:docMk/>
            <pc:sldMk cId="2136070199" sldId="2145707737"/>
            <ac:picMk id="10" creationId="{F65AFF8F-24AB-07C1-6EBD-94A2198104F4}"/>
          </ac:picMkLst>
        </pc:picChg>
      </pc:sldChg>
      <pc:sldChg chg="new del">
        <pc:chgData name="Natalia Skalkogianni (ATH)" userId="S::natalia.skalkogianni@eldoradogold.com::2bf0de59-3b65-44fe-afa0-adc6e8d32eae" providerId="AD" clId="Web-{255D3C90-6583-542F-84E8-B3034CBA8D53}" dt="2024-11-15T15:42:35.373" v="1141"/>
        <pc:sldMkLst>
          <pc:docMk/>
          <pc:sldMk cId="3650411269" sldId="2145707737"/>
        </pc:sldMkLst>
      </pc:sldChg>
      <pc:sldChg chg="addSp delSp modSp add replId">
        <pc:chgData name="Natalia Skalkogianni (ATH)" userId="S::natalia.skalkogianni@eldoradogold.com::2bf0de59-3b65-44fe-afa0-adc6e8d32eae" providerId="AD" clId="Web-{255D3C90-6583-542F-84E8-B3034CBA8D53}" dt="2024-11-15T16:34:35.511" v="2158" actId="1076"/>
        <pc:sldMkLst>
          <pc:docMk/>
          <pc:sldMk cId="1646300689" sldId="2145707738"/>
        </pc:sldMkLst>
        <pc:spChg chg="mod">
          <ac:chgData name="Natalia Skalkogianni (ATH)" userId="S::natalia.skalkogianni@eldoradogold.com::2bf0de59-3b65-44fe-afa0-adc6e8d32eae" providerId="AD" clId="Web-{255D3C90-6583-542F-84E8-B3034CBA8D53}" dt="2024-11-15T16:19:31.858" v="1962" actId="14100"/>
          <ac:spMkLst>
            <pc:docMk/>
            <pc:sldMk cId="1646300689" sldId="2145707738"/>
            <ac:spMk id="2" creationId="{1F45DD5F-333B-C056-680E-8777ED448178}"/>
          </ac:spMkLst>
        </pc:spChg>
        <pc:spChg chg="mod">
          <ac:chgData name="Natalia Skalkogianni (ATH)" userId="S::natalia.skalkogianni@eldoradogold.com::2bf0de59-3b65-44fe-afa0-adc6e8d32eae" providerId="AD" clId="Web-{255D3C90-6583-542F-84E8-B3034CBA8D53}" dt="2024-11-15T16:30:55.805" v="2122" actId="1076"/>
          <ac:spMkLst>
            <pc:docMk/>
            <pc:sldMk cId="1646300689" sldId="2145707738"/>
            <ac:spMk id="5" creationId="{F064BA5C-1ED5-26E3-5705-E451B3055996}"/>
          </ac:spMkLst>
        </pc:spChg>
        <pc:spChg chg="del topLvl">
          <ac:chgData name="Natalia Skalkogianni (ATH)" userId="S::natalia.skalkogianni@eldoradogold.com::2bf0de59-3b65-44fe-afa0-adc6e8d32eae" providerId="AD" clId="Web-{255D3C90-6583-542F-84E8-B3034CBA8D53}" dt="2024-11-15T16:09:25.833" v="1839"/>
          <ac:spMkLst>
            <pc:docMk/>
            <pc:sldMk cId="1646300689" sldId="2145707738"/>
            <ac:spMk id="7" creationId="{0C7068EB-DE4A-F1B7-0268-D81D20C16EB8}"/>
          </ac:spMkLst>
        </pc:spChg>
        <pc:spChg chg="del mod topLvl">
          <ac:chgData name="Natalia Skalkogianni (ATH)" userId="S::natalia.skalkogianni@eldoradogold.com::2bf0de59-3b65-44fe-afa0-adc6e8d32eae" providerId="AD" clId="Web-{255D3C90-6583-542F-84E8-B3034CBA8D53}" dt="2024-11-15T16:09:23.192" v="1838"/>
          <ac:spMkLst>
            <pc:docMk/>
            <pc:sldMk cId="1646300689" sldId="2145707738"/>
            <ac:spMk id="8" creationId="{BF7F8DA7-15AC-8EA9-DE7A-55804C0B4C4A}"/>
          </ac:spMkLst>
        </pc:spChg>
        <pc:spChg chg="mod">
          <ac:chgData name="Natalia Skalkogianni (ATH)" userId="S::natalia.skalkogianni@eldoradogold.com::2bf0de59-3b65-44fe-afa0-adc6e8d32eae" providerId="AD" clId="Web-{255D3C90-6583-542F-84E8-B3034CBA8D53}" dt="2024-11-15T16:32:37.119" v="2141" actId="20577"/>
          <ac:spMkLst>
            <pc:docMk/>
            <pc:sldMk cId="1646300689" sldId="2145707738"/>
            <ac:spMk id="9" creationId="{34844BDA-DE84-2361-2042-29D808B60142}"/>
          </ac:spMkLst>
        </pc:spChg>
        <pc:spChg chg="mod">
          <ac:chgData name="Natalia Skalkogianni (ATH)" userId="S::natalia.skalkogianni@eldoradogold.com::2bf0de59-3b65-44fe-afa0-adc6e8d32eae" providerId="AD" clId="Web-{255D3C90-6583-542F-84E8-B3034CBA8D53}" dt="2024-11-15T16:32:11.337" v="2138"/>
          <ac:spMkLst>
            <pc:docMk/>
            <pc:sldMk cId="1646300689" sldId="2145707738"/>
            <ac:spMk id="10" creationId="{40990C76-0633-052F-051C-6F41DF620397}"/>
          </ac:spMkLst>
        </pc:spChg>
        <pc:spChg chg="add del mod">
          <ac:chgData name="Natalia Skalkogianni (ATH)" userId="S::natalia.skalkogianni@eldoradogold.com::2bf0de59-3b65-44fe-afa0-adc6e8d32eae" providerId="AD" clId="Web-{255D3C90-6583-542F-84E8-B3034CBA8D53}" dt="2024-11-15T16:26:24.895" v="2065"/>
          <ac:spMkLst>
            <pc:docMk/>
            <pc:sldMk cId="1646300689" sldId="2145707738"/>
            <ac:spMk id="13" creationId="{F94554CF-70AE-1901-5CBB-D0C4512FE784}"/>
          </ac:spMkLst>
        </pc:spChg>
        <pc:spChg chg="mod">
          <ac:chgData name="Natalia Skalkogianni (ATH)" userId="S::natalia.skalkogianni@eldoradogold.com::2bf0de59-3b65-44fe-afa0-adc6e8d32eae" providerId="AD" clId="Web-{255D3C90-6583-542F-84E8-B3034CBA8D53}" dt="2024-11-15T16:06:35.674" v="1795"/>
          <ac:spMkLst>
            <pc:docMk/>
            <pc:sldMk cId="1646300689" sldId="2145707738"/>
            <ac:spMk id="18" creationId="{9FBD7F95-FB91-7422-76EF-16926C3579F3}"/>
          </ac:spMkLst>
        </pc:spChg>
        <pc:spChg chg="mod">
          <ac:chgData name="Natalia Skalkogianni (ATH)" userId="S::natalia.skalkogianni@eldoradogold.com::2bf0de59-3b65-44fe-afa0-adc6e8d32eae" providerId="AD" clId="Web-{255D3C90-6583-542F-84E8-B3034CBA8D53}" dt="2024-11-15T16:06:35.768" v="1796"/>
          <ac:spMkLst>
            <pc:docMk/>
            <pc:sldMk cId="1646300689" sldId="2145707738"/>
            <ac:spMk id="19" creationId="{4F869F2F-75CE-11B4-F793-8BB11073F327}"/>
          </ac:spMkLst>
        </pc:spChg>
        <pc:spChg chg="mod">
          <ac:chgData name="Natalia Skalkogianni (ATH)" userId="S::natalia.skalkogianni@eldoradogold.com::2bf0de59-3b65-44fe-afa0-adc6e8d32eae" providerId="AD" clId="Web-{255D3C90-6583-542F-84E8-B3034CBA8D53}" dt="2024-11-15T16:31:41.134" v="2135" actId="1076"/>
          <ac:spMkLst>
            <pc:docMk/>
            <pc:sldMk cId="1646300689" sldId="2145707738"/>
            <ac:spMk id="21" creationId="{E2FE8359-1775-782C-D871-A72ACCB7BA21}"/>
          </ac:spMkLst>
        </pc:spChg>
        <pc:spChg chg="add mod">
          <ac:chgData name="Natalia Skalkogianni (ATH)" userId="S::natalia.skalkogianni@eldoradogold.com::2bf0de59-3b65-44fe-afa0-adc6e8d32eae" providerId="AD" clId="Web-{255D3C90-6583-542F-84E8-B3034CBA8D53}" dt="2024-11-15T16:30:12.555" v="2113" actId="14100"/>
          <ac:spMkLst>
            <pc:docMk/>
            <pc:sldMk cId="1646300689" sldId="2145707738"/>
            <ac:spMk id="25" creationId="{6A2EBE7C-F4E9-EFBF-1968-E8F472DF1AE8}"/>
          </ac:spMkLst>
        </pc:spChg>
        <pc:spChg chg="add del mod">
          <ac:chgData name="Natalia Skalkogianni (ATH)" userId="S::natalia.skalkogianni@eldoradogold.com::2bf0de59-3b65-44fe-afa0-adc6e8d32eae" providerId="AD" clId="Web-{255D3C90-6583-542F-84E8-B3034CBA8D53}" dt="2024-11-15T16:23:02.127" v="2007"/>
          <ac:spMkLst>
            <pc:docMk/>
            <pc:sldMk cId="1646300689" sldId="2145707738"/>
            <ac:spMk id="27" creationId="{1291CCF6-CD76-1AB1-CF9D-9281D427EDCC}"/>
          </ac:spMkLst>
        </pc:spChg>
        <pc:spChg chg="add del mod">
          <ac:chgData name="Natalia Skalkogianni (ATH)" userId="S::natalia.skalkogianni@eldoradogold.com::2bf0de59-3b65-44fe-afa0-adc6e8d32eae" providerId="AD" clId="Web-{255D3C90-6583-542F-84E8-B3034CBA8D53}" dt="2024-11-15T16:23:01.580" v="2006"/>
          <ac:spMkLst>
            <pc:docMk/>
            <pc:sldMk cId="1646300689" sldId="2145707738"/>
            <ac:spMk id="28" creationId="{61CEE785-B92A-360E-F546-DFA87AE60CDB}"/>
          </ac:spMkLst>
        </pc:spChg>
        <pc:spChg chg="add del mod">
          <ac:chgData name="Natalia Skalkogianni (ATH)" userId="S::natalia.skalkogianni@eldoradogold.com::2bf0de59-3b65-44fe-afa0-adc6e8d32eae" providerId="AD" clId="Web-{255D3C90-6583-542F-84E8-B3034CBA8D53}" dt="2024-11-15T16:26:54.896" v="2072"/>
          <ac:spMkLst>
            <pc:docMk/>
            <pc:sldMk cId="1646300689" sldId="2145707738"/>
            <ac:spMk id="32" creationId="{51D4A757-B6D8-7B57-5B22-E1B552405FB5}"/>
          </ac:spMkLst>
        </pc:spChg>
        <pc:spChg chg="mod">
          <ac:chgData name="Natalia Skalkogianni (ATH)" userId="S::natalia.skalkogianni@eldoradogold.com::2bf0de59-3b65-44fe-afa0-adc6e8d32eae" providerId="AD" clId="Web-{255D3C90-6583-542F-84E8-B3034CBA8D53}" dt="2024-11-15T16:31:01.696" v="2123" actId="1076"/>
          <ac:spMkLst>
            <pc:docMk/>
            <pc:sldMk cId="1646300689" sldId="2145707738"/>
            <ac:spMk id="35" creationId="{8F7875F2-7112-3A5E-E5A3-F5CD74805EC4}"/>
          </ac:spMkLst>
        </pc:spChg>
        <pc:spChg chg="add mod">
          <ac:chgData name="Natalia Skalkogianni (ATH)" userId="S::natalia.skalkogianni@eldoradogold.com::2bf0de59-3b65-44fe-afa0-adc6e8d32eae" providerId="AD" clId="Web-{255D3C90-6583-542F-84E8-B3034CBA8D53}" dt="2024-11-15T16:29:42.757" v="2105" actId="1076"/>
          <ac:spMkLst>
            <pc:docMk/>
            <pc:sldMk cId="1646300689" sldId="2145707738"/>
            <ac:spMk id="36" creationId="{003A2471-946C-712B-454D-D41A34C47CA7}"/>
          </ac:spMkLst>
        </pc:spChg>
        <pc:spChg chg="add del">
          <ac:chgData name="Natalia Skalkogianni (ATH)" userId="S::natalia.skalkogianni@eldoradogold.com::2bf0de59-3b65-44fe-afa0-adc6e8d32eae" providerId="AD" clId="Web-{255D3C90-6583-542F-84E8-B3034CBA8D53}" dt="2024-11-15T16:26:21.739" v="2064"/>
          <ac:spMkLst>
            <pc:docMk/>
            <pc:sldMk cId="1646300689" sldId="2145707738"/>
            <ac:spMk id="37" creationId="{BB8F3A89-23AE-ADCC-B4E8-72DB6015C749}"/>
          </ac:spMkLst>
        </pc:spChg>
        <pc:spChg chg="mod">
          <ac:chgData name="Natalia Skalkogianni (ATH)" userId="S::natalia.skalkogianni@eldoradogold.com::2bf0de59-3b65-44fe-afa0-adc6e8d32eae" providerId="AD" clId="Web-{255D3C90-6583-542F-84E8-B3034CBA8D53}" dt="2024-11-15T16:20:16.031" v="1970" actId="1076"/>
          <ac:spMkLst>
            <pc:docMk/>
            <pc:sldMk cId="1646300689" sldId="2145707738"/>
            <ac:spMk id="39" creationId="{339AF413-B83F-630D-FED1-DAA4DC138FCA}"/>
          </ac:spMkLst>
        </pc:spChg>
        <pc:spChg chg="del">
          <ac:chgData name="Natalia Skalkogianni (ATH)" userId="S::natalia.skalkogianni@eldoradogold.com::2bf0de59-3b65-44fe-afa0-adc6e8d32eae" providerId="AD" clId="Web-{255D3C90-6583-542F-84E8-B3034CBA8D53}" dt="2024-11-15T16:15:13.074" v="1917"/>
          <ac:spMkLst>
            <pc:docMk/>
            <pc:sldMk cId="1646300689" sldId="2145707738"/>
            <ac:spMk id="40" creationId="{098D738E-60D6-AF24-72FA-D4958844C8A0}"/>
          </ac:spMkLst>
        </pc:spChg>
        <pc:spChg chg="mod">
          <ac:chgData name="Natalia Skalkogianni (ATH)" userId="S::natalia.skalkogianni@eldoradogold.com::2bf0de59-3b65-44fe-afa0-adc6e8d32eae" providerId="AD" clId="Web-{255D3C90-6583-542F-84E8-B3034CBA8D53}" dt="2024-11-15T16:30:14.836" v="2114" actId="1076"/>
          <ac:spMkLst>
            <pc:docMk/>
            <pc:sldMk cId="1646300689" sldId="2145707738"/>
            <ac:spMk id="41" creationId="{C2FFCC60-D093-A3CF-4EFD-2A20E3060493}"/>
          </ac:spMkLst>
        </pc:spChg>
        <pc:spChg chg="mod">
          <ac:chgData name="Natalia Skalkogianni (ATH)" userId="S::natalia.skalkogianni@eldoradogold.com::2bf0de59-3b65-44fe-afa0-adc6e8d32eae" providerId="AD" clId="Web-{255D3C90-6583-542F-84E8-B3034CBA8D53}" dt="2024-11-15T16:31:23.087" v="2132" actId="14100"/>
          <ac:spMkLst>
            <pc:docMk/>
            <pc:sldMk cId="1646300689" sldId="2145707738"/>
            <ac:spMk id="42" creationId="{65B10827-4F00-4332-56A5-51001BE02153}"/>
          </ac:spMkLst>
        </pc:spChg>
        <pc:spChg chg="mod topLvl">
          <ac:chgData name="Natalia Skalkogianni (ATH)" userId="S::natalia.skalkogianni@eldoradogold.com::2bf0de59-3b65-44fe-afa0-adc6e8d32eae" providerId="AD" clId="Web-{255D3C90-6583-542F-84E8-B3034CBA8D53}" dt="2024-11-15T16:30:35.586" v="2119" actId="1076"/>
          <ac:spMkLst>
            <pc:docMk/>
            <pc:sldMk cId="1646300689" sldId="2145707738"/>
            <ac:spMk id="43" creationId="{86323200-E7E1-7A5F-BC9B-621318E259B8}"/>
          </ac:spMkLst>
        </pc:spChg>
        <pc:spChg chg="mod">
          <ac:chgData name="Natalia Skalkogianni (ATH)" userId="S::natalia.skalkogianni@eldoradogold.com::2bf0de59-3b65-44fe-afa0-adc6e8d32eae" providerId="AD" clId="Web-{255D3C90-6583-542F-84E8-B3034CBA8D53}" dt="2024-11-15T16:33:32.917" v="2147" actId="1076"/>
          <ac:spMkLst>
            <pc:docMk/>
            <pc:sldMk cId="1646300689" sldId="2145707738"/>
            <ac:spMk id="44" creationId="{C5A6669E-079A-A345-F2DD-43DBA442C4EC}"/>
          </ac:spMkLst>
        </pc:spChg>
        <pc:spChg chg="mod">
          <ac:chgData name="Natalia Skalkogianni (ATH)" userId="S::natalia.skalkogianni@eldoradogold.com::2bf0de59-3b65-44fe-afa0-adc6e8d32eae" providerId="AD" clId="Web-{255D3C90-6583-542F-84E8-B3034CBA8D53}" dt="2024-11-15T16:13:13.869" v="1885" actId="1076"/>
          <ac:spMkLst>
            <pc:docMk/>
            <pc:sldMk cId="1646300689" sldId="2145707738"/>
            <ac:spMk id="45" creationId="{12F71552-1FEF-FD1F-2BD6-8FFC2AF04025}"/>
          </ac:spMkLst>
        </pc:spChg>
        <pc:spChg chg="mod">
          <ac:chgData name="Natalia Skalkogianni (ATH)" userId="S::natalia.skalkogianni@eldoradogold.com::2bf0de59-3b65-44fe-afa0-adc6e8d32eae" providerId="AD" clId="Web-{255D3C90-6583-542F-84E8-B3034CBA8D53}" dt="2024-11-15T16:22:24.501" v="2000" actId="1076"/>
          <ac:spMkLst>
            <pc:docMk/>
            <pc:sldMk cId="1646300689" sldId="2145707738"/>
            <ac:spMk id="47" creationId="{EBEE723F-58A6-C324-2323-E301E64D04D8}"/>
          </ac:spMkLst>
        </pc:spChg>
        <pc:spChg chg="mod">
          <ac:chgData name="Natalia Skalkogianni (ATH)" userId="S::natalia.skalkogianni@eldoradogold.com::2bf0de59-3b65-44fe-afa0-adc6e8d32eae" providerId="AD" clId="Web-{255D3C90-6583-542F-84E8-B3034CBA8D53}" dt="2024-11-15T16:30:03.226" v="2110" actId="1076"/>
          <ac:spMkLst>
            <pc:docMk/>
            <pc:sldMk cId="1646300689" sldId="2145707738"/>
            <ac:spMk id="48" creationId="{BF0E4986-C01C-7A4F-BEF2-F5A7A14B7FCB}"/>
          </ac:spMkLst>
        </pc:spChg>
        <pc:spChg chg="del mod topLvl">
          <ac:chgData name="Natalia Skalkogianni (ATH)" userId="S::natalia.skalkogianni@eldoradogold.com::2bf0de59-3b65-44fe-afa0-adc6e8d32eae" providerId="AD" clId="Web-{255D3C90-6583-542F-84E8-B3034CBA8D53}" dt="2024-11-15T16:12:08.899" v="1870"/>
          <ac:spMkLst>
            <pc:docMk/>
            <pc:sldMk cId="1646300689" sldId="2145707738"/>
            <ac:spMk id="49" creationId="{ECA9B9CB-82D9-59D3-1722-145A6F60E770}"/>
          </ac:spMkLst>
        </pc:spChg>
        <pc:spChg chg="mod">
          <ac:chgData name="Natalia Skalkogianni (ATH)" userId="S::natalia.skalkogianni@eldoradogold.com::2bf0de59-3b65-44fe-afa0-adc6e8d32eae" providerId="AD" clId="Web-{255D3C90-6583-542F-84E8-B3034CBA8D53}" dt="2024-11-15T16:21:17.469" v="1984" actId="1076"/>
          <ac:spMkLst>
            <pc:docMk/>
            <pc:sldMk cId="1646300689" sldId="2145707738"/>
            <ac:spMk id="50" creationId="{A6F9B51D-C61B-C081-2D04-44C0B342D73B}"/>
          </ac:spMkLst>
        </pc:spChg>
        <pc:spChg chg="del mod">
          <ac:chgData name="Natalia Skalkogianni (ATH)" userId="S::natalia.skalkogianni@eldoradogold.com::2bf0de59-3b65-44fe-afa0-adc6e8d32eae" providerId="AD" clId="Web-{255D3C90-6583-542F-84E8-B3034CBA8D53}" dt="2024-11-15T16:22:52.845" v="2003"/>
          <ac:spMkLst>
            <pc:docMk/>
            <pc:sldMk cId="1646300689" sldId="2145707738"/>
            <ac:spMk id="51" creationId="{5F81567F-93A5-B66A-F156-DCD56491CFEA}"/>
          </ac:spMkLst>
        </pc:spChg>
        <pc:spChg chg="mod">
          <ac:chgData name="Natalia Skalkogianni (ATH)" userId="S::natalia.skalkogianni@eldoradogold.com::2bf0de59-3b65-44fe-afa0-adc6e8d32eae" providerId="AD" clId="Web-{255D3C90-6583-542F-84E8-B3034CBA8D53}" dt="2024-11-15T16:30:26.211" v="2117" actId="688"/>
          <ac:spMkLst>
            <pc:docMk/>
            <pc:sldMk cId="1646300689" sldId="2145707738"/>
            <ac:spMk id="52" creationId="{2D2057B8-E13E-315C-1C5E-907ADB611B68}"/>
          </ac:spMkLst>
        </pc:spChg>
        <pc:spChg chg="del">
          <ac:chgData name="Natalia Skalkogianni (ATH)" userId="S::natalia.skalkogianni@eldoradogold.com::2bf0de59-3b65-44fe-afa0-adc6e8d32eae" providerId="AD" clId="Web-{255D3C90-6583-542F-84E8-B3034CBA8D53}" dt="2024-11-15T16:03:25.984" v="1743"/>
          <ac:spMkLst>
            <pc:docMk/>
            <pc:sldMk cId="1646300689" sldId="2145707738"/>
            <ac:spMk id="54" creationId="{E58FCE54-7886-975A-88EA-76619A8D60B9}"/>
          </ac:spMkLst>
        </pc:spChg>
        <pc:spChg chg="mod topLvl">
          <ac:chgData name="Natalia Skalkogianni (ATH)" userId="S::natalia.skalkogianni@eldoradogold.com::2bf0de59-3b65-44fe-afa0-adc6e8d32eae" providerId="AD" clId="Web-{255D3C90-6583-542F-84E8-B3034CBA8D53}" dt="2024-11-15T16:28:56.772" v="2097" actId="14100"/>
          <ac:spMkLst>
            <pc:docMk/>
            <pc:sldMk cId="1646300689" sldId="2145707738"/>
            <ac:spMk id="55" creationId="{7AAB4E1D-DFB4-31B7-568B-6672729B8A85}"/>
          </ac:spMkLst>
        </pc:spChg>
        <pc:spChg chg="add del topLvl">
          <ac:chgData name="Natalia Skalkogianni (ATH)" userId="S::natalia.skalkogianni@eldoradogold.com::2bf0de59-3b65-44fe-afa0-adc6e8d32eae" providerId="AD" clId="Web-{255D3C90-6583-542F-84E8-B3034CBA8D53}" dt="2024-11-15T16:08:51.785" v="1829"/>
          <ac:spMkLst>
            <pc:docMk/>
            <pc:sldMk cId="1646300689" sldId="2145707738"/>
            <ac:spMk id="56" creationId="{BF0E4986-C01C-7A4F-BEF2-F5A7A14B7FCB}"/>
          </ac:spMkLst>
        </pc:spChg>
        <pc:spChg chg="add del topLvl">
          <ac:chgData name="Natalia Skalkogianni (ATH)" userId="S::natalia.skalkogianni@eldoradogold.com::2bf0de59-3b65-44fe-afa0-adc6e8d32eae" providerId="AD" clId="Web-{255D3C90-6583-542F-84E8-B3034CBA8D53}" dt="2024-11-15T16:08:49.301" v="1828"/>
          <ac:spMkLst>
            <pc:docMk/>
            <pc:sldMk cId="1646300689" sldId="2145707738"/>
            <ac:spMk id="57" creationId="{C2FFCC60-D093-A3CF-4EFD-2A20E3060493}"/>
          </ac:spMkLst>
        </pc:spChg>
        <pc:spChg chg="mod">
          <ac:chgData name="Natalia Skalkogianni (ATH)" userId="S::natalia.skalkogianni@eldoradogold.com::2bf0de59-3b65-44fe-afa0-adc6e8d32eae" providerId="AD" clId="Web-{255D3C90-6583-542F-84E8-B3034CBA8D53}" dt="2024-11-15T16:29:28.398" v="2103" actId="14100"/>
          <ac:spMkLst>
            <pc:docMk/>
            <pc:sldMk cId="1646300689" sldId="2145707738"/>
            <ac:spMk id="59" creationId="{2F3E283E-8EE3-9C4E-E086-E38624C88170}"/>
          </ac:spMkLst>
        </pc:spChg>
        <pc:spChg chg="mod topLvl">
          <ac:chgData name="Natalia Skalkogianni (ATH)" userId="S::natalia.skalkogianni@eldoradogold.com::2bf0de59-3b65-44fe-afa0-adc6e8d32eae" providerId="AD" clId="Web-{255D3C90-6583-542F-84E8-B3034CBA8D53}" dt="2024-11-15T16:16:31.184" v="1933" actId="1076"/>
          <ac:spMkLst>
            <pc:docMk/>
            <pc:sldMk cId="1646300689" sldId="2145707738"/>
            <ac:spMk id="60" creationId="{4A962EAF-4C7F-EAEE-6FF4-FFC1EC79251F}"/>
          </ac:spMkLst>
        </pc:spChg>
        <pc:spChg chg="add del mod topLvl">
          <ac:chgData name="Natalia Skalkogianni (ATH)" userId="S::natalia.skalkogianni@eldoradogold.com::2bf0de59-3b65-44fe-afa0-adc6e8d32eae" providerId="AD" clId="Web-{255D3C90-6583-542F-84E8-B3034CBA8D53}" dt="2024-11-15T16:17:44.982" v="1942" actId="1076"/>
          <ac:spMkLst>
            <pc:docMk/>
            <pc:sldMk cId="1646300689" sldId="2145707738"/>
            <ac:spMk id="61" creationId="{9FD1AAF9-7CB8-4094-0C46-074F69A93D6F}"/>
          </ac:spMkLst>
        </pc:spChg>
        <pc:spChg chg="add del">
          <ac:chgData name="Natalia Skalkogianni (ATH)" userId="S::natalia.skalkogianni@eldoradogold.com::2bf0de59-3b65-44fe-afa0-adc6e8d32eae" providerId="AD" clId="Web-{255D3C90-6583-542F-84E8-B3034CBA8D53}" dt="2024-11-15T16:09:32.864" v="1841"/>
          <ac:spMkLst>
            <pc:docMk/>
            <pc:sldMk cId="1646300689" sldId="2145707738"/>
            <ac:spMk id="63" creationId="{98799CBD-60BC-D4FE-DCE2-843CFCDBEBF3}"/>
          </ac:spMkLst>
        </pc:spChg>
        <pc:spChg chg="add del">
          <ac:chgData name="Natalia Skalkogianni (ATH)" userId="S::natalia.skalkogianni@eldoradogold.com::2bf0de59-3b65-44fe-afa0-adc6e8d32eae" providerId="AD" clId="Web-{255D3C90-6583-542F-84E8-B3034CBA8D53}" dt="2024-11-15T16:09:41.270" v="1843"/>
          <ac:spMkLst>
            <pc:docMk/>
            <pc:sldMk cId="1646300689" sldId="2145707738"/>
            <ac:spMk id="65" creationId="{ECF1E52B-A3D5-EDE3-F702-D75B0585F6D9}"/>
          </ac:spMkLst>
        </pc:spChg>
        <pc:spChg chg="mod">
          <ac:chgData name="Natalia Skalkogianni (ATH)" userId="S::natalia.skalkogianni@eldoradogold.com::2bf0de59-3b65-44fe-afa0-adc6e8d32eae" providerId="AD" clId="Web-{255D3C90-6583-542F-84E8-B3034CBA8D53}" dt="2024-11-15T16:02:41.796" v="1728" actId="20577"/>
          <ac:spMkLst>
            <pc:docMk/>
            <pc:sldMk cId="1646300689" sldId="2145707738"/>
            <ac:spMk id="71" creationId="{5E166026-D0B8-6FE2-C5EC-DD5F7DCE7326}"/>
          </ac:spMkLst>
        </pc:spChg>
        <pc:spChg chg="add mod">
          <ac:chgData name="Natalia Skalkogianni (ATH)" userId="S::natalia.skalkogianni@eldoradogold.com::2bf0de59-3b65-44fe-afa0-adc6e8d32eae" providerId="AD" clId="Web-{255D3C90-6583-542F-84E8-B3034CBA8D53}" dt="2024-11-15T16:34:09.870" v="2154" actId="1076"/>
          <ac:spMkLst>
            <pc:docMk/>
            <pc:sldMk cId="1646300689" sldId="2145707738"/>
            <ac:spMk id="73" creationId="{0EB5D454-B966-8240-2675-58064C9419C3}"/>
          </ac:spMkLst>
        </pc:spChg>
        <pc:spChg chg="add mod topLvl">
          <ac:chgData name="Natalia Skalkogianni (ATH)" userId="S::natalia.skalkogianni@eldoradogold.com::2bf0de59-3b65-44fe-afa0-adc6e8d32eae" providerId="AD" clId="Web-{255D3C90-6583-542F-84E8-B3034CBA8D53}" dt="2024-11-15T16:34:35.511" v="2158" actId="1076"/>
          <ac:spMkLst>
            <pc:docMk/>
            <pc:sldMk cId="1646300689" sldId="2145707738"/>
            <ac:spMk id="75" creationId="{B082DEC9-C525-DCDE-2C2C-5C8365FFD3C1}"/>
          </ac:spMkLst>
        </pc:spChg>
        <pc:spChg chg="add mod">
          <ac:chgData name="Natalia Skalkogianni (ATH)" userId="S::natalia.skalkogianni@eldoradogold.com::2bf0de59-3b65-44fe-afa0-adc6e8d32eae" providerId="AD" clId="Web-{255D3C90-6583-542F-84E8-B3034CBA8D53}" dt="2024-11-15T16:13:54.260" v="1895" actId="1076"/>
          <ac:spMkLst>
            <pc:docMk/>
            <pc:sldMk cId="1646300689" sldId="2145707738"/>
            <ac:spMk id="77" creationId="{848BB23E-68A2-5029-D881-0949A6BA9756}"/>
          </ac:spMkLst>
        </pc:spChg>
        <pc:spChg chg="add del mod">
          <ac:chgData name="Natalia Skalkogianni (ATH)" userId="S::natalia.skalkogianni@eldoradogold.com::2bf0de59-3b65-44fe-afa0-adc6e8d32eae" providerId="AD" clId="Web-{255D3C90-6583-542F-84E8-B3034CBA8D53}" dt="2024-11-15T16:11:41.227" v="1866"/>
          <ac:spMkLst>
            <pc:docMk/>
            <pc:sldMk cId="1646300689" sldId="2145707738"/>
            <ac:spMk id="78" creationId="{43EB219A-0A41-2FAD-58D1-E5E657116A8E}"/>
          </ac:spMkLst>
        </pc:spChg>
        <pc:spChg chg="add del">
          <ac:chgData name="Natalia Skalkogianni (ATH)" userId="S::natalia.skalkogianni@eldoradogold.com::2bf0de59-3b65-44fe-afa0-adc6e8d32eae" providerId="AD" clId="Web-{255D3C90-6583-542F-84E8-B3034CBA8D53}" dt="2024-11-15T16:11:06.461" v="1857"/>
          <ac:spMkLst>
            <pc:docMk/>
            <pc:sldMk cId="1646300689" sldId="2145707738"/>
            <ac:spMk id="80" creationId="{7E7BF2C3-B7EA-48F1-B441-4ED46649DDBD}"/>
          </ac:spMkLst>
        </pc:spChg>
        <pc:spChg chg="mod">
          <ac:chgData name="Natalia Skalkogianni (ATH)" userId="S::natalia.skalkogianni@eldoradogold.com::2bf0de59-3b65-44fe-afa0-adc6e8d32eae" providerId="AD" clId="Web-{255D3C90-6583-542F-84E8-B3034CBA8D53}" dt="2024-11-15T16:29:17.632" v="2102" actId="1076"/>
          <ac:spMkLst>
            <pc:docMk/>
            <pc:sldMk cId="1646300689" sldId="2145707738"/>
            <ac:spMk id="82" creationId="{D1DFC981-0DFC-166D-A23C-2DF48A1C62D7}"/>
          </ac:spMkLst>
        </pc:spChg>
        <pc:spChg chg="mod">
          <ac:chgData name="Natalia Skalkogianni (ATH)" userId="S::natalia.skalkogianni@eldoradogold.com::2bf0de59-3b65-44fe-afa0-adc6e8d32eae" providerId="AD" clId="Web-{255D3C90-6583-542F-84E8-B3034CBA8D53}" dt="2024-11-15T16:29:15.476" v="2101" actId="1076"/>
          <ac:spMkLst>
            <pc:docMk/>
            <pc:sldMk cId="1646300689" sldId="2145707738"/>
            <ac:spMk id="83" creationId="{0D3DDA66-CF65-C473-605E-7E39BB43D0CF}"/>
          </ac:spMkLst>
        </pc:spChg>
        <pc:spChg chg="add mod topLvl">
          <ac:chgData name="Natalia Skalkogianni (ATH)" userId="S::natalia.skalkogianni@eldoradogold.com::2bf0de59-3b65-44fe-afa0-adc6e8d32eae" providerId="AD" clId="Web-{255D3C90-6583-542F-84E8-B3034CBA8D53}" dt="2024-11-15T16:29:36.195" v="2104" actId="1076"/>
          <ac:spMkLst>
            <pc:docMk/>
            <pc:sldMk cId="1646300689" sldId="2145707738"/>
            <ac:spMk id="84" creationId="{ECA9B9CB-82D9-59D3-1722-145A6F60E770}"/>
          </ac:spMkLst>
        </pc:spChg>
        <pc:grpChg chg="mod">
          <ac:chgData name="Natalia Skalkogianni (ATH)" userId="S::natalia.skalkogianni@eldoradogold.com::2bf0de59-3b65-44fe-afa0-adc6e8d32eae" providerId="AD" clId="Web-{255D3C90-6583-542F-84E8-B3034CBA8D53}" dt="2024-11-15T16:34:24.027" v="2157" actId="14100"/>
          <ac:grpSpMkLst>
            <pc:docMk/>
            <pc:sldMk cId="1646300689" sldId="2145707738"/>
            <ac:grpSpMk id="3" creationId="{9026D7EC-8E6F-AA02-1880-6EB869DF4468}"/>
          </ac:grpSpMkLst>
        </pc:grpChg>
        <pc:grpChg chg="mod">
          <ac:chgData name="Natalia Skalkogianni (ATH)" userId="S::natalia.skalkogianni@eldoradogold.com::2bf0de59-3b65-44fe-afa0-adc6e8d32eae" providerId="AD" clId="Web-{255D3C90-6583-542F-84E8-B3034CBA8D53}" dt="2024-11-15T16:19:16.014" v="1957" actId="1076"/>
          <ac:grpSpMkLst>
            <pc:docMk/>
            <pc:sldMk cId="1646300689" sldId="2145707738"/>
            <ac:grpSpMk id="11" creationId="{B9319272-B58A-31E5-45B5-4E9369C76BA0}"/>
          </ac:grpSpMkLst>
        </pc:grpChg>
        <pc:grpChg chg="del mod">
          <ac:chgData name="Natalia Skalkogianni (ATH)" userId="S::natalia.skalkogianni@eldoradogold.com::2bf0de59-3b65-44fe-afa0-adc6e8d32eae" providerId="AD" clId="Web-{255D3C90-6583-542F-84E8-B3034CBA8D53}" dt="2024-11-15T16:09:23.192" v="1838"/>
          <ac:grpSpMkLst>
            <pc:docMk/>
            <pc:sldMk cId="1646300689" sldId="2145707738"/>
            <ac:grpSpMk id="12" creationId="{42C74583-981A-A878-2B58-FB4424D6C355}"/>
          </ac:grpSpMkLst>
        </pc:grpChg>
        <pc:grpChg chg="del">
          <ac:chgData name="Natalia Skalkogianni (ATH)" userId="S::natalia.skalkogianni@eldoradogold.com::2bf0de59-3b65-44fe-afa0-adc6e8d32eae" providerId="AD" clId="Web-{255D3C90-6583-542F-84E8-B3034CBA8D53}" dt="2024-11-15T16:11:23.289" v="1861"/>
          <ac:grpSpMkLst>
            <pc:docMk/>
            <pc:sldMk cId="1646300689" sldId="2145707738"/>
            <ac:grpSpMk id="14" creationId="{223BB1C2-1544-07DA-7EBA-259F873D9C0D}"/>
          </ac:grpSpMkLst>
        </pc:grpChg>
        <pc:grpChg chg="del">
          <ac:chgData name="Natalia Skalkogianni (ATH)" userId="S::natalia.skalkogianni@eldoradogold.com::2bf0de59-3b65-44fe-afa0-adc6e8d32eae" providerId="AD" clId="Web-{255D3C90-6583-542F-84E8-B3034CBA8D53}" dt="2024-11-15T16:08:34.410" v="1825"/>
          <ac:grpSpMkLst>
            <pc:docMk/>
            <pc:sldMk cId="1646300689" sldId="2145707738"/>
            <ac:grpSpMk id="17" creationId="{0E3516B4-717D-7F9E-A7ED-886FF686C9DF}"/>
          </ac:grpSpMkLst>
        </pc:grpChg>
        <pc:grpChg chg="mod">
          <ac:chgData name="Natalia Skalkogianni (ATH)" userId="S::natalia.skalkogianni@eldoradogold.com::2bf0de59-3b65-44fe-afa0-adc6e8d32eae" providerId="AD" clId="Web-{255D3C90-6583-542F-84E8-B3034CBA8D53}" dt="2024-11-15T16:29:49.257" v="2107" actId="1076"/>
          <ac:grpSpMkLst>
            <pc:docMk/>
            <pc:sldMk cId="1646300689" sldId="2145707738"/>
            <ac:grpSpMk id="22" creationId="{26895374-1170-F129-85B3-0ECE48AB0960}"/>
          </ac:grpSpMkLst>
        </pc:grpChg>
        <pc:grpChg chg="del">
          <ac:chgData name="Natalia Skalkogianni (ATH)" userId="S::natalia.skalkogianni@eldoradogold.com::2bf0de59-3b65-44fe-afa0-adc6e8d32eae" providerId="AD" clId="Web-{255D3C90-6583-542F-84E8-B3034CBA8D53}" dt="2024-11-15T16:03:27.875" v="1744"/>
          <ac:grpSpMkLst>
            <pc:docMk/>
            <pc:sldMk cId="1646300689" sldId="2145707738"/>
            <ac:grpSpMk id="31" creationId="{D53D091B-2B0F-C677-566D-491718A2091B}"/>
          </ac:grpSpMkLst>
        </pc:grpChg>
        <pc:grpChg chg="add mod">
          <ac:chgData name="Natalia Skalkogianni (ATH)" userId="S::natalia.skalkogianni@eldoradogold.com::2bf0de59-3b65-44fe-afa0-adc6e8d32eae" providerId="AD" clId="Web-{255D3C90-6583-542F-84E8-B3034CBA8D53}" dt="2024-11-15T16:30:30.899" v="2118" actId="1076"/>
          <ac:grpSpMkLst>
            <pc:docMk/>
            <pc:sldMk cId="1646300689" sldId="2145707738"/>
            <ac:grpSpMk id="38" creationId="{25F937D7-99F0-F6D1-EB6F-64170FD112A5}"/>
          </ac:grpSpMkLst>
        </pc:grpChg>
        <pc:grpChg chg="add del mod">
          <ac:chgData name="Natalia Skalkogianni (ATH)" userId="S::natalia.skalkogianni@eldoradogold.com::2bf0de59-3b65-44fe-afa0-adc6e8d32eae" providerId="AD" clId="Web-{255D3C90-6583-542F-84E8-B3034CBA8D53}" dt="2024-11-15T16:08:49.301" v="1828"/>
          <ac:grpSpMkLst>
            <pc:docMk/>
            <pc:sldMk cId="1646300689" sldId="2145707738"/>
            <ac:grpSpMk id="53" creationId="{CBD3A51B-C25C-9080-8023-72FAB619FB97}"/>
          </ac:grpSpMkLst>
        </pc:grpChg>
        <pc:grpChg chg="add del mod">
          <ac:chgData name="Natalia Skalkogianni (ATH)" userId="S::natalia.skalkogianni@eldoradogold.com::2bf0de59-3b65-44fe-afa0-adc6e8d32eae" providerId="AD" clId="Web-{255D3C90-6583-542F-84E8-B3034CBA8D53}" dt="2024-11-15T16:33:29.542" v="2146" actId="1076"/>
          <ac:grpSpMkLst>
            <pc:docMk/>
            <pc:sldMk cId="1646300689" sldId="2145707738"/>
            <ac:grpSpMk id="58" creationId="{2B6AA7D8-7AB8-17C4-9E6A-F8721E1A4B78}"/>
          </ac:grpSpMkLst>
        </pc:grpChg>
        <pc:grpChg chg="del mod">
          <ac:chgData name="Natalia Skalkogianni (ATH)" userId="S::natalia.skalkogianni@eldoradogold.com::2bf0de59-3b65-44fe-afa0-adc6e8d32eae" providerId="AD" clId="Web-{255D3C90-6583-542F-84E8-B3034CBA8D53}" dt="2024-11-15T16:02:47.109" v="1730"/>
          <ac:grpSpMkLst>
            <pc:docMk/>
            <pc:sldMk cId="1646300689" sldId="2145707738"/>
            <ac:grpSpMk id="66" creationId="{AEB08854-DD38-860F-2232-D72939155047}"/>
          </ac:grpSpMkLst>
        </pc:grpChg>
        <pc:grpChg chg="del">
          <ac:chgData name="Natalia Skalkogianni (ATH)" userId="S::natalia.skalkogianni@eldoradogold.com::2bf0de59-3b65-44fe-afa0-adc6e8d32eae" providerId="AD" clId="Web-{255D3C90-6583-542F-84E8-B3034CBA8D53}" dt="2024-11-15T16:02:44.093" v="1729"/>
          <ac:grpSpMkLst>
            <pc:docMk/>
            <pc:sldMk cId="1646300689" sldId="2145707738"/>
            <ac:grpSpMk id="69" creationId="{388E74E5-A507-7C73-5B83-053406E2F950}"/>
          </ac:grpSpMkLst>
        </pc:grpChg>
        <pc:grpChg chg="add mod">
          <ac:chgData name="Natalia Skalkogianni (ATH)" userId="S::natalia.skalkogianni@eldoradogold.com::2bf0de59-3b65-44fe-afa0-adc6e8d32eae" providerId="AD" clId="Web-{255D3C90-6583-542F-84E8-B3034CBA8D53}" dt="2024-11-15T16:21:47.376" v="1992" actId="1076"/>
          <ac:grpSpMkLst>
            <pc:docMk/>
            <pc:sldMk cId="1646300689" sldId="2145707738"/>
            <ac:grpSpMk id="81" creationId="{12ED8A10-2DA5-6578-ED47-A23D5C1346D0}"/>
          </ac:grpSpMkLst>
        </pc:grpChg>
        <pc:grpChg chg="add del mod">
          <ac:chgData name="Natalia Skalkogianni (ATH)" userId="S::natalia.skalkogianni@eldoradogold.com::2bf0de59-3b65-44fe-afa0-adc6e8d32eae" providerId="AD" clId="Web-{255D3C90-6583-542F-84E8-B3034CBA8D53}" dt="2024-11-15T16:24:07.925" v="2028"/>
          <ac:grpSpMkLst>
            <pc:docMk/>
            <pc:sldMk cId="1646300689" sldId="2145707738"/>
            <ac:grpSpMk id="85" creationId="{A59D6FF9-5B7F-FF08-A516-02E3E27B3C30}"/>
          </ac:grpSpMkLst>
        </pc:grpChg>
        <pc:grpChg chg="add del mod">
          <ac:chgData name="Natalia Skalkogianni (ATH)" userId="S::natalia.skalkogianni@eldoradogold.com::2bf0de59-3b65-44fe-afa0-adc6e8d32eae" providerId="AD" clId="Web-{255D3C90-6583-542F-84E8-B3034CBA8D53}" dt="2024-11-15T16:25:50.004" v="2055"/>
          <ac:grpSpMkLst>
            <pc:docMk/>
            <pc:sldMk cId="1646300689" sldId="2145707738"/>
            <ac:grpSpMk id="86" creationId="{C58D4A9E-2429-0D55-24FB-B037F07E7953}"/>
          </ac:grpSpMkLst>
        </pc:grpChg>
        <pc:grpChg chg="add mod">
          <ac:chgData name="Natalia Skalkogianni (ATH)" userId="S::natalia.skalkogianni@eldoradogold.com::2bf0de59-3b65-44fe-afa0-adc6e8d32eae" providerId="AD" clId="Web-{255D3C90-6583-542F-84E8-B3034CBA8D53}" dt="2024-11-15T16:33:44.417" v="2149" actId="1076"/>
          <ac:grpSpMkLst>
            <pc:docMk/>
            <pc:sldMk cId="1646300689" sldId="2145707738"/>
            <ac:grpSpMk id="87" creationId="{BE2195CB-3C92-7879-4187-841F91AA5D14}"/>
          </ac:grpSpMkLst>
        </pc:grpChg>
        <pc:grpChg chg="add mod">
          <ac:chgData name="Natalia Skalkogianni (ATH)" userId="S::natalia.skalkogianni@eldoradogold.com::2bf0de59-3b65-44fe-afa0-adc6e8d32eae" providerId="AD" clId="Web-{255D3C90-6583-542F-84E8-B3034CBA8D53}" dt="2024-11-15T16:34:15.261" v="2155" actId="1076"/>
          <ac:grpSpMkLst>
            <pc:docMk/>
            <pc:sldMk cId="1646300689" sldId="2145707738"/>
            <ac:grpSpMk id="88" creationId="{65009A5E-17A0-4AC4-9CDA-29A32A197986}"/>
          </ac:grpSpMkLst>
        </pc:grpChg>
        <pc:grpChg chg="del mod">
          <ac:chgData name="Natalia Skalkogianni (ATH)" userId="S::natalia.skalkogianni@eldoradogold.com::2bf0de59-3b65-44fe-afa0-adc6e8d32eae" providerId="AD" clId="Web-{255D3C90-6583-542F-84E8-B3034CBA8D53}" dt="2024-11-15T16:12:08.899" v="1870"/>
          <ac:grpSpMkLst>
            <pc:docMk/>
            <pc:sldMk cId="1646300689" sldId="2145707738"/>
            <ac:grpSpMk id="123" creationId="{64302741-354D-5932-7562-4A8277A51279}"/>
          </ac:grpSpMkLst>
        </pc:grpChg>
        <pc:grpChg chg="add del mod">
          <ac:chgData name="Natalia Skalkogianni (ATH)" userId="S::natalia.skalkogianni@eldoradogold.com::2bf0de59-3b65-44fe-afa0-adc6e8d32eae" providerId="AD" clId="Web-{255D3C90-6583-542F-84E8-B3034CBA8D53}" dt="2024-11-15T16:30:06.539" v="2111" actId="1076"/>
          <ac:grpSpMkLst>
            <pc:docMk/>
            <pc:sldMk cId="1646300689" sldId="2145707738"/>
            <ac:grpSpMk id="124" creationId="{CBD3A51B-C25C-9080-8023-72FAB619FB97}"/>
          </ac:grpSpMkLst>
        </pc:grpChg>
        <pc:grpChg chg="mod">
          <ac:chgData name="Natalia Skalkogianni (ATH)" userId="S::natalia.skalkogianni@eldoradogold.com::2bf0de59-3b65-44fe-afa0-adc6e8d32eae" providerId="AD" clId="Web-{255D3C90-6583-542F-84E8-B3034CBA8D53}" dt="2024-11-15T16:29:46.820" v="2106" actId="1076"/>
          <ac:grpSpMkLst>
            <pc:docMk/>
            <pc:sldMk cId="1646300689" sldId="2145707738"/>
            <ac:grpSpMk id="125" creationId="{D20DF33F-C459-7D4F-96B5-C59A965AFCAD}"/>
          </ac:grpSpMkLst>
        </pc:grpChg>
        <pc:graphicFrameChg chg="mod modGraphic">
          <ac:chgData name="Natalia Skalkogianni (ATH)" userId="S::natalia.skalkogianni@eldoradogold.com::2bf0de59-3b65-44fe-afa0-adc6e8d32eae" providerId="AD" clId="Web-{255D3C90-6583-542F-84E8-B3034CBA8D53}" dt="2024-11-15T16:31:54.056" v="2136"/>
          <ac:graphicFrameMkLst>
            <pc:docMk/>
            <pc:sldMk cId="1646300689" sldId="2145707738"/>
            <ac:graphicFrameMk id="4" creationId="{D3AAB3EA-98FB-9211-4E2C-270B582A4CEF}"/>
          </ac:graphicFrameMkLst>
        </pc:graphicFrameChg>
        <pc:graphicFrameChg chg="mod modGraphic">
          <ac:chgData name="Natalia Skalkogianni (ATH)" userId="S::natalia.skalkogianni@eldoradogold.com::2bf0de59-3b65-44fe-afa0-adc6e8d32eae" providerId="AD" clId="Web-{255D3C90-6583-542F-84E8-B3034CBA8D53}" dt="2024-11-15T16:31:59.384" v="2137"/>
          <ac:graphicFrameMkLst>
            <pc:docMk/>
            <pc:sldMk cId="1646300689" sldId="2145707738"/>
            <ac:graphicFrameMk id="20" creationId="{AA7F935E-FC2F-C4EB-D4B4-E407DD0F429F}"/>
          </ac:graphicFrameMkLst>
        </pc:graphicFrameChg>
        <pc:picChg chg="mod">
          <ac:chgData name="Natalia Skalkogianni (ATH)" userId="S::natalia.skalkogianni@eldoradogold.com::2bf0de59-3b65-44fe-afa0-adc6e8d32eae" providerId="AD" clId="Web-{255D3C90-6583-542F-84E8-B3034CBA8D53}" dt="2024-11-15T16:27:19.412" v="2077" actId="1076"/>
          <ac:picMkLst>
            <pc:docMk/>
            <pc:sldMk cId="1646300689" sldId="2145707738"/>
            <ac:picMk id="6" creationId="{B6B487EF-86B3-8CE3-5DF4-2445B5FF4AAE}"/>
          </ac:picMkLst>
        </pc:picChg>
        <pc:picChg chg="mod">
          <ac:chgData name="Natalia Skalkogianni (ATH)" userId="S::natalia.skalkogianni@eldoradogold.com::2bf0de59-3b65-44fe-afa0-adc6e8d32eae" providerId="AD" clId="Web-{255D3C90-6583-542F-84E8-B3034CBA8D53}" dt="2024-11-15T16:20:21.093" v="1971" actId="1076"/>
          <ac:picMkLst>
            <pc:docMk/>
            <pc:sldMk cId="1646300689" sldId="2145707738"/>
            <ac:picMk id="46" creationId="{FEA13929-69CE-E6B0-3446-AF3940F7E910}"/>
          </ac:picMkLst>
        </pc:picChg>
      </pc:sldChg>
      <pc:sldChg chg="addSp delSp modSp add ord replId">
        <pc:chgData name="Natalia Skalkogianni (ATH)" userId="S::natalia.skalkogianni@eldoradogold.com::2bf0de59-3b65-44fe-afa0-adc6e8d32eae" providerId="AD" clId="Web-{255D3C90-6583-542F-84E8-B3034CBA8D53}" dt="2024-11-15T16:45:51.942" v="2337" actId="1076"/>
        <pc:sldMkLst>
          <pc:docMk/>
          <pc:sldMk cId="2253926812" sldId="2145707739"/>
        </pc:sldMkLst>
        <pc:spChg chg="mod">
          <ac:chgData name="Natalia Skalkogianni (ATH)" userId="S::natalia.skalkogianni@eldoradogold.com::2bf0de59-3b65-44fe-afa0-adc6e8d32eae" providerId="AD" clId="Web-{255D3C90-6583-542F-84E8-B3034CBA8D53}" dt="2024-11-15T16:44:07.238" v="2323" actId="1076"/>
          <ac:spMkLst>
            <pc:docMk/>
            <pc:sldMk cId="2253926812" sldId="2145707739"/>
            <ac:spMk id="2" creationId="{55CA005D-20A3-A294-FF9F-8770DDE8A8F3}"/>
          </ac:spMkLst>
        </pc:spChg>
        <pc:spChg chg="mod">
          <ac:chgData name="Natalia Skalkogianni (ATH)" userId="S::natalia.skalkogianni@eldoradogold.com::2bf0de59-3b65-44fe-afa0-adc6e8d32eae" providerId="AD" clId="Web-{255D3C90-6583-542F-84E8-B3034CBA8D53}" dt="2024-11-15T16:38:39.874" v="2230" actId="20577"/>
          <ac:spMkLst>
            <pc:docMk/>
            <pc:sldMk cId="2253926812" sldId="2145707739"/>
            <ac:spMk id="4" creationId="{AD703E34-2E70-D0E2-6E04-D8CE003A9934}"/>
          </ac:spMkLst>
        </pc:spChg>
        <pc:spChg chg="add del mod">
          <ac:chgData name="Natalia Skalkogianni (ATH)" userId="S::natalia.skalkogianni@eldoradogold.com::2bf0de59-3b65-44fe-afa0-adc6e8d32eae" providerId="AD" clId="Web-{255D3C90-6583-542F-84E8-B3034CBA8D53}" dt="2024-11-15T16:38:43.968" v="2231"/>
          <ac:spMkLst>
            <pc:docMk/>
            <pc:sldMk cId="2253926812" sldId="2145707739"/>
            <ac:spMk id="8" creationId="{FB77BED3-EBAF-141D-87C2-26A1DACF1EA0}"/>
          </ac:spMkLst>
        </pc:spChg>
        <pc:spChg chg="add del mod">
          <ac:chgData name="Natalia Skalkogianni (ATH)" userId="S::natalia.skalkogianni@eldoradogold.com::2bf0de59-3b65-44fe-afa0-adc6e8d32eae" providerId="AD" clId="Web-{255D3C90-6583-542F-84E8-B3034CBA8D53}" dt="2024-11-15T16:42:51.940" v="2296"/>
          <ac:spMkLst>
            <pc:docMk/>
            <pc:sldMk cId="2253926812" sldId="2145707739"/>
            <ac:spMk id="10" creationId="{A7EF6E00-CF59-36B2-BD63-9B36A6C95640}"/>
          </ac:spMkLst>
        </pc:spChg>
        <pc:spChg chg="add mod">
          <ac:chgData name="Natalia Skalkogianni (ATH)" userId="S::natalia.skalkogianni@eldoradogold.com::2bf0de59-3b65-44fe-afa0-adc6e8d32eae" providerId="AD" clId="Web-{255D3C90-6583-542F-84E8-B3034CBA8D53}" dt="2024-11-15T16:45:51.942" v="2337" actId="1076"/>
          <ac:spMkLst>
            <pc:docMk/>
            <pc:sldMk cId="2253926812" sldId="2145707739"/>
            <ac:spMk id="12" creationId="{13885081-1F38-ED80-DD34-86AD4AFF479B}"/>
          </ac:spMkLst>
        </pc:spChg>
        <pc:spChg chg="add del mod ord">
          <ac:chgData name="Natalia Skalkogianni (ATH)" userId="S::natalia.skalkogianni@eldoradogold.com::2bf0de59-3b65-44fe-afa0-adc6e8d32eae" providerId="AD" clId="Web-{255D3C90-6583-542F-84E8-B3034CBA8D53}" dt="2024-11-15T16:45:31.489" v="2334"/>
          <ac:spMkLst>
            <pc:docMk/>
            <pc:sldMk cId="2253926812" sldId="2145707739"/>
            <ac:spMk id="13" creationId="{33E162ED-DAD9-F7EE-D698-507FAABC8DF6}"/>
          </ac:spMkLst>
        </pc:spChg>
        <pc:picChg chg="del">
          <ac:chgData name="Natalia Skalkogianni (ATH)" userId="S::natalia.skalkogianni@eldoradogold.com::2bf0de59-3b65-44fe-afa0-adc6e8d32eae" providerId="AD" clId="Web-{255D3C90-6583-542F-84E8-B3034CBA8D53}" dt="2024-11-15T16:38:20.655" v="2189"/>
          <ac:picMkLst>
            <pc:docMk/>
            <pc:sldMk cId="2253926812" sldId="2145707739"/>
            <ac:picMk id="6" creationId="{8D8B524F-67E4-2504-B550-451B69F72612}"/>
          </ac:picMkLst>
        </pc:picChg>
        <pc:picChg chg="add mod ord">
          <ac:chgData name="Natalia Skalkogianni (ATH)" userId="S::natalia.skalkogianni@eldoradogold.com::2bf0de59-3b65-44fe-afa0-adc6e8d32eae" providerId="AD" clId="Web-{255D3C90-6583-542F-84E8-B3034CBA8D53}" dt="2024-11-15T16:41:22.939" v="2255"/>
          <ac:picMkLst>
            <pc:docMk/>
            <pc:sldMk cId="2253926812" sldId="2145707739"/>
            <ac:picMk id="11" creationId="{3B3EDF23-9A5E-A956-E798-A0048805A748}"/>
          </ac:picMkLst>
        </pc:picChg>
      </pc:sldChg>
    </pc:docChg>
  </pc:docChgLst>
  <pc:docChgLst>
    <pc:chgData name="Erika Xirouchaki (ATH)" userId="c1e7015d-7349-406b-b2d1-a943b5c1154d" providerId="ADAL" clId="{4244FCE3-063A-484F-97F9-07421ADE8F48}"/>
    <pc:docChg chg="undo redo custSel addSld delSld modSld sldOrd delSection modSection">
      <pc:chgData name="Erika Xirouchaki (ATH)" userId="c1e7015d-7349-406b-b2d1-a943b5c1154d" providerId="ADAL" clId="{4244FCE3-063A-484F-97F9-07421ADE8F48}" dt="2024-11-19T14:47:06.477" v="1894" actId="108"/>
      <pc:docMkLst>
        <pc:docMk/>
      </pc:docMkLst>
      <pc:sldChg chg="modSp mod">
        <pc:chgData name="Erika Xirouchaki (ATH)" userId="c1e7015d-7349-406b-b2d1-a943b5c1154d" providerId="ADAL" clId="{4244FCE3-063A-484F-97F9-07421ADE8F48}" dt="2024-11-14T16:52:18.308" v="14" actId="6549"/>
        <pc:sldMkLst>
          <pc:docMk/>
          <pc:sldMk cId="4088308952" sldId="257"/>
        </pc:sldMkLst>
        <pc:spChg chg="mod">
          <ac:chgData name="Erika Xirouchaki (ATH)" userId="c1e7015d-7349-406b-b2d1-a943b5c1154d" providerId="ADAL" clId="{4244FCE3-063A-484F-97F9-07421ADE8F48}" dt="2024-11-14T16:52:18.308" v="14" actId="6549"/>
          <ac:spMkLst>
            <pc:docMk/>
            <pc:sldMk cId="4088308952" sldId="257"/>
            <ac:spMk id="3" creationId="{6CB31282-5B67-DCE1-6DF8-55F3187DBC83}"/>
          </ac:spMkLst>
        </pc:spChg>
      </pc:sldChg>
      <pc:sldChg chg="del">
        <pc:chgData name="Erika Xirouchaki (ATH)" userId="c1e7015d-7349-406b-b2d1-a943b5c1154d" providerId="ADAL" clId="{4244FCE3-063A-484F-97F9-07421ADE8F48}" dt="2024-11-15T09:50:18.989" v="16" actId="47"/>
        <pc:sldMkLst>
          <pc:docMk/>
          <pc:sldMk cId="3381665031" sldId="258"/>
        </pc:sldMkLst>
      </pc:sldChg>
      <pc:sldChg chg="modSp mod">
        <pc:chgData name="Erika Xirouchaki (ATH)" userId="c1e7015d-7349-406b-b2d1-a943b5c1154d" providerId="ADAL" clId="{4244FCE3-063A-484F-97F9-07421ADE8F48}" dt="2024-11-15T09:59:55.872" v="79" actId="20577"/>
        <pc:sldMkLst>
          <pc:docMk/>
          <pc:sldMk cId="1922133204" sldId="266"/>
        </pc:sldMkLst>
        <pc:spChg chg="mod">
          <ac:chgData name="Erika Xirouchaki (ATH)" userId="c1e7015d-7349-406b-b2d1-a943b5c1154d" providerId="ADAL" clId="{4244FCE3-063A-484F-97F9-07421ADE8F48}" dt="2024-11-15T09:59:55.872" v="79" actId="20577"/>
          <ac:spMkLst>
            <pc:docMk/>
            <pc:sldMk cId="1922133204" sldId="266"/>
            <ac:spMk id="2" creationId="{951E2999-C12D-41C1-99DA-B2027C42CA43}"/>
          </ac:spMkLst>
        </pc:spChg>
      </pc:sldChg>
      <pc:sldChg chg="addSp delSp modSp mod modNotesTx">
        <pc:chgData name="Erika Xirouchaki (ATH)" userId="c1e7015d-7349-406b-b2d1-a943b5c1154d" providerId="ADAL" clId="{4244FCE3-063A-484F-97F9-07421ADE8F48}" dt="2024-11-19T14:39:51.840" v="1888" actId="478"/>
        <pc:sldMkLst>
          <pc:docMk/>
          <pc:sldMk cId="2502141173" sldId="267"/>
        </pc:sldMkLst>
        <pc:spChg chg="mod">
          <ac:chgData name="Erika Xirouchaki (ATH)" userId="c1e7015d-7349-406b-b2d1-a943b5c1154d" providerId="ADAL" clId="{4244FCE3-063A-484F-97F9-07421ADE8F48}" dt="2024-11-19T12:19:49.004" v="1635"/>
          <ac:spMkLst>
            <pc:docMk/>
            <pc:sldMk cId="2502141173" sldId="267"/>
            <ac:spMk id="3" creationId="{BAC65038-DCDB-FEF5-88B9-BF2C2BCFAE63}"/>
          </ac:spMkLst>
        </pc:spChg>
        <pc:picChg chg="add del mod">
          <ac:chgData name="Erika Xirouchaki (ATH)" userId="c1e7015d-7349-406b-b2d1-a943b5c1154d" providerId="ADAL" clId="{4244FCE3-063A-484F-97F9-07421ADE8F48}" dt="2024-11-19T14:39:51.840" v="1888" actId="478"/>
          <ac:picMkLst>
            <pc:docMk/>
            <pc:sldMk cId="2502141173" sldId="267"/>
            <ac:picMk id="10" creationId="{0CCA7F52-760D-05EF-70C3-4FBED459E01D}"/>
          </ac:picMkLst>
        </pc:picChg>
      </pc:sldChg>
      <pc:sldChg chg="modSp">
        <pc:chgData name="Erika Xirouchaki (ATH)" userId="c1e7015d-7349-406b-b2d1-a943b5c1154d" providerId="ADAL" clId="{4244FCE3-063A-484F-97F9-07421ADE8F48}" dt="2024-11-15T09:56:20.508" v="54"/>
        <pc:sldMkLst>
          <pc:docMk/>
          <pc:sldMk cId="3598442101" sldId="268"/>
        </pc:sldMkLst>
        <pc:graphicFrameChg chg="mod">
          <ac:chgData name="Erika Xirouchaki (ATH)" userId="c1e7015d-7349-406b-b2d1-a943b5c1154d" providerId="ADAL" clId="{4244FCE3-063A-484F-97F9-07421ADE8F48}" dt="2024-11-15T09:56:20.508" v="54"/>
          <ac:graphicFrameMkLst>
            <pc:docMk/>
            <pc:sldMk cId="3598442101" sldId="268"/>
            <ac:graphicFrameMk id="14" creationId="{C470542F-16A1-52E7-1D85-77ACA41D7352}"/>
          </ac:graphicFrameMkLst>
        </pc:graphicFrameChg>
      </pc:sldChg>
      <pc:sldChg chg="addSp delSp modSp mod delAnim modAnim modNotesTx">
        <pc:chgData name="Erika Xirouchaki (ATH)" userId="c1e7015d-7349-406b-b2d1-a943b5c1154d" providerId="ADAL" clId="{4244FCE3-063A-484F-97F9-07421ADE8F48}" dt="2024-11-19T12:50:17.737" v="1692" actId="478"/>
        <pc:sldMkLst>
          <pc:docMk/>
          <pc:sldMk cId="2534270834" sldId="269"/>
        </pc:sldMkLst>
        <pc:spChg chg="mod">
          <ac:chgData name="Erika Xirouchaki (ATH)" userId="c1e7015d-7349-406b-b2d1-a943b5c1154d" providerId="ADAL" clId="{4244FCE3-063A-484F-97F9-07421ADE8F48}" dt="2024-11-19T11:47:12.154" v="845"/>
          <ac:spMkLst>
            <pc:docMk/>
            <pc:sldMk cId="2534270834" sldId="269"/>
            <ac:spMk id="3" creationId="{0E77A3F4-FEF6-5248-C0AB-983A661B3D01}"/>
          </ac:spMkLst>
        </pc:spChg>
        <pc:spChg chg="mod">
          <ac:chgData name="Erika Xirouchaki (ATH)" userId="c1e7015d-7349-406b-b2d1-a943b5c1154d" providerId="ADAL" clId="{4244FCE3-063A-484F-97F9-07421ADE8F48}" dt="2024-11-19T12:44:36.983" v="1651" actId="1076"/>
          <ac:spMkLst>
            <pc:docMk/>
            <pc:sldMk cId="2534270834" sldId="269"/>
            <ac:spMk id="4" creationId="{CC70333A-EA03-51E9-3CC5-4A96B0A61E08}"/>
          </ac:spMkLst>
        </pc:spChg>
        <pc:spChg chg="add mod">
          <ac:chgData name="Erika Xirouchaki (ATH)" userId="c1e7015d-7349-406b-b2d1-a943b5c1154d" providerId="ADAL" clId="{4244FCE3-063A-484F-97F9-07421ADE8F48}" dt="2024-11-19T12:45:31.853" v="1656" actId="164"/>
          <ac:spMkLst>
            <pc:docMk/>
            <pc:sldMk cId="2534270834" sldId="269"/>
            <ac:spMk id="8" creationId="{71DCF226-4ECC-E3CA-68F8-E359D5A69C01}"/>
          </ac:spMkLst>
        </pc:spChg>
        <pc:spChg chg="add mod">
          <ac:chgData name="Erika Xirouchaki (ATH)" userId="c1e7015d-7349-406b-b2d1-a943b5c1154d" providerId="ADAL" clId="{4244FCE3-063A-484F-97F9-07421ADE8F48}" dt="2024-11-19T12:45:31.853" v="1656" actId="164"/>
          <ac:spMkLst>
            <pc:docMk/>
            <pc:sldMk cId="2534270834" sldId="269"/>
            <ac:spMk id="9" creationId="{E18B0812-8F4F-6E04-18A7-EB642B399A79}"/>
          </ac:spMkLst>
        </pc:spChg>
        <pc:spChg chg="add mod">
          <ac:chgData name="Erika Xirouchaki (ATH)" userId="c1e7015d-7349-406b-b2d1-a943b5c1154d" providerId="ADAL" clId="{4244FCE3-063A-484F-97F9-07421ADE8F48}" dt="2024-11-19T12:45:31.853" v="1656" actId="164"/>
          <ac:spMkLst>
            <pc:docMk/>
            <pc:sldMk cId="2534270834" sldId="269"/>
            <ac:spMk id="10" creationId="{54825FDD-E007-1A29-BEAE-16A43A764BAE}"/>
          </ac:spMkLst>
        </pc:spChg>
        <pc:spChg chg="add mod">
          <ac:chgData name="Erika Xirouchaki (ATH)" userId="c1e7015d-7349-406b-b2d1-a943b5c1154d" providerId="ADAL" clId="{4244FCE3-063A-484F-97F9-07421ADE8F48}" dt="2024-11-19T12:45:31.853" v="1656" actId="164"/>
          <ac:spMkLst>
            <pc:docMk/>
            <pc:sldMk cId="2534270834" sldId="269"/>
            <ac:spMk id="11" creationId="{E9F924B7-73F1-971F-CD29-6D3D21380EC2}"/>
          </ac:spMkLst>
        </pc:spChg>
        <pc:spChg chg="add mod">
          <ac:chgData name="Erika Xirouchaki (ATH)" userId="c1e7015d-7349-406b-b2d1-a943b5c1154d" providerId="ADAL" clId="{4244FCE3-063A-484F-97F9-07421ADE8F48}" dt="2024-11-19T12:45:31.853" v="1656" actId="164"/>
          <ac:spMkLst>
            <pc:docMk/>
            <pc:sldMk cId="2534270834" sldId="269"/>
            <ac:spMk id="14" creationId="{FDE4E785-7951-D215-B0E5-CC2D20063B82}"/>
          </ac:spMkLst>
        </pc:spChg>
        <pc:spChg chg="add mod">
          <ac:chgData name="Erika Xirouchaki (ATH)" userId="c1e7015d-7349-406b-b2d1-a943b5c1154d" providerId="ADAL" clId="{4244FCE3-063A-484F-97F9-07421ADE8F48}" dt="2024-11-19T12:45:31.853" v="1656" actId="164"/>
          <ac:spMkLst>
            <pc:docMk/>
            <pc:sldMk cId="2534270834" sldId="269"/>
            <ac:spMk id="15" creationId="{6B77C1A7-4C45-BE5F-9EA1-DD5815A06564}"/>
          </ac:spMkLst>
        </pc:spChg>
        <pc:spChg chg="add mod">
          <ac:chgData name="Erika Xirouchaki (ATH)" userId="c1e7015d-7349-406b-b2d1-a943b5c1154d" providerId="ADAL" clId="{4244FCE3-063A-484F-97F9-07421ADE8F48}" dt="2024-11-19T12:45:31.853" v="1656" actId="164"/>
          <ac:spMkLst>
            <pc:docMk/>
            <pc:sldMk cId="2534270834" sldId="269"/>
            <ac:spMk id="17" creationId="{EA1C1600-3CF7-D8C7-4232-3D3D251804B2}"/>
          </ac:spMkLst>
        </pc:spChg>
        <pc:spChg chg="add mod">
          <ac:chgData name="Erika Xirouchaki (ATH)" userId="c1e7015d-7349-406b-b2d1-a943b5c1154d" providerId="ADAL" clId="{4244FCE3-063A-484F-97F9-07421ADE8F48}" dt="2024-11-19T12:45:31.853" v="1656" actId="164"/>
          <ac:spMkLst>
            <pc:docMk/>
            <pc:sldMk cId="2534270834" sldId="269"/>
            <ac:spMk id="19" creationId="{D9ABD049-1E56-FB72-A6D4-95607017210D}"/>
          </ac:spMkLst>
        </pc:spChg>
        <pc:spChg chg="add mod">
          <ac:chgData name="Erika Xirouchaki (ATH)" userId="c1e7015d-7349-406b-b2d1-a943b5c1154d" providerId="ADAL" clId="{4244FCE3-063A-484F-97F9-07421ADE8F48}" dt="2024-11-19T12:45:31.853" v="1656" actId="164"/>
          <ac:spMkLst>
            <pc:docMk/>
            <pc:sldMk cId="2534270834" sldId="269"/>
            <ac:spMk id="20" creationId="{08A21E90-2023-5AF9-3921-FDCA66AF5D5B}"/>
          </ac:spMkLst>
        </pc:spChg>
        <pc:spChg chg="add mod">
          <ac:chgData name="Erika Xirouchaki (ATH)" userId="c1e7015d-7349-406b-b2d1-a943b5c1154d" providerId="ADAL" clId="{4244FCE3-063A-484F-97F9-07421ADE8F48}" dt="2024-11-19T12:45:31.853" v="1656" actId="164"/>
          <ac:spMkLst>
            <pc:docMk/>
            <pc:sldMk cId="2534270834" sldId="269"/>
            <ac:spMk id="21" creationId="{CA2346AB-CF70-98EF-4941-0845596308E0}"/>
          </ac:spMkLst>
        </pc:spChg>
        <pc:spChg chg="add mod">
          <ac:chgData name="Erika Xirouchaki (ATH)" userId="c1e7015d-7349-406b-b2d1-a943b5c1154d" providerId="ADAL" clId="{4244FCE3-063A-484F-97F9-07421ADE8F48}" dt="2024-11-19T12:45:26.499" v="1655" actId="164"/>
          <ac:spMkLst>
            <pc:docMk/>
            <pc:sldMk cId="2534270834" sldId="269"/>
            <ac:spMk id="26" creationId="{2EB4FDE8-D465-5C9A-7410-C5A27725BA02}"/>
          </ac:spMkLst>
        </pc:spChg>
        <pc:spChg chg="add mod">
          <ac:chgData name="Erika Xirouchaki (ATH)" userId="c1e7015d-7349-406b-b2d1-a943b5c1154d" providerId="ADAL" clId="{4244FCE3-063A-484F-97F9-07421ADE8F48}" dt="2024-11-19T12:45:26.499" v="1655" actId="164"/>
          <ac:spMkLst>
            <pc:docMk/>
            <pc:sldMk cId="2534270834" sldId="269"/>
            <ac:spMk id="27" creationId="{30DE6BC7-2A08-5CC1-6436-AF91B11FDC86}"/>
          </ac:spMkLst>
        </pc:spChg>
        <pc:spChg chg="add mod">
          <ac:chgData name="Erika Xirouchaki (ATH)" userId="c1e7015d-7349-406b-b2d1-a943b5c1154d" providerId="ADAL" clId="{4244FCE3-063A-484F-97F9-07421ADE8F48}" dt="2024-11-19T12:45:26.499" v="1655" actId="164"/>
          <ac:spMkLst>
            <pc:docMk/>
            <pc:sldMk cId="2534270834" sldId="269"/>
            <ac:spMk id="28" creationId="{46517937-2141-FAE9-29B1-24BA39356D3B}"/>
          </ac:spMkLst>
        </pc:spChg>
        <pc:spChg chg="add mod">
          <ac:chgData name="Erika Xirouchaki (ATH)" userId="c1e7015d-7349-406b-b2d1-a943b5c1154d" providerId="ADAL" clId="{4244FCE3-063A-484F-97F9-07421ADE8F48}" dt="2024-11-19T12:45:26.499" v="1655" actId="164"/>
          <ac:spMkLst>
            <pc:docMk/>
            <pc:sldMk cId="2534270834" sldId="269"/>
            <ac:spMk id="29" creationId="{408FA549-0AEF-B963-7558-96F2EF788994}"/>
          </ac:spMkLst>
        </pc:spChg>
        <pc:spChg chg="mod topLvl">
          <ac:chgData name="Erika Xirouchaki (ATH)" userId="c1e7015d-7349-406b-b2d1-a943b5c1154d" providerId="ADAL" clId="{4244FCE3-063A-484F-97F9-07421ADE8F48}" dt="2024-11-19T12:49:38.213" v="1685" actId="164"/>
          <ac:spMkLst>
            <pc:docMk/>
            <pc:sldMk cId="2534270834" sldId="269"/>
            <ac:spMk id="33" creationId="{7891CC54-A0F8-F80C-4263-41E9E98C0BDF}"/>
          </ac:spMkLst>
        </pc:spChg>
        <pc:spChg chg="mod topLvl">
          <ac:chgData name="Erika Xirouchaki (ATH)" userId="c1e7015d-7349-406b-b2d1-a943b5c1154d" providerId="ADAL" clId="{4244FCE3-063A-484F-97F9-07421ADE8F48}" dt="2024-11-19T12:46:16.931" v="1659" actId="164"/>
          <ac:spMkLst>
            <pc:docMk/>
            <pc:sldMk cId="2534270834" sldId="269"/>
            <ac:spMk id="34" creationId="{21A7605F-13E7-D36A-DCE8-35B76FF6C204}"/>
          </ac:spMkLst>
        </pc:spChg>
        <pc:spChg chg="mod topLvl">
          <ac:chgData name="Erika Xirouchaki (ATH)" userId="c1e7015d-7349-406b-b2d1-a943b5c1154d" providerId="ADAL" clId="{4244FCE3-063A-484F-97F9-07421ADE8F48}" dt="2024-11-19T12:47:13.383" v="1674" actId="164"/>
          <ac:spMkLst>
            <pc:docMk/>
            <pc:sldMk cId="2534270834" sldId="269"/>
            <ac:spMk id="35" creationId="{92F07277-F8BC-100F-E02D-D02E9DD01289}"/>
          </ac:spMkLst>
        </pc:spChg>
        <pc:grpChg chg="add mod">
          <ac:chgData name="Erika Xirouchaki (ATH)" userId="c1e7015d-7349-406b-b2d1-a943b5c1154d" providerId="ADAL" clId="{4244FCE3-063A-484F-97F9-07421ADE8F48}" dt="2024-11-19T12:46:16.931" v="1659" actId="164"/>
          <ac:grpSpMkLst>
            <pc:docMk/>
            <pc:sldMk cId="2534270834" sldId="269"/>
            <ac:grpSpMk id="30" creationId="{1AB81D3D-9E7A-E005-D2DD-7D8BEEF294B1}"/>
          </ac:grpSpMkLst>
        </pc:grpChg>
        <pc:grpChg chg="add mod">
          <ac:chgData name="Erika Xirouchaki (ATH)" userId="c1e7015d-7349-406b-b2d1-a943b5c1154d" providerId="ADAL" clId="{4244FCE3-063A-484F-97F9-07421ADE8F48}" dt="2024-11-19T12:46:16.931" v="1659" actId="164"/>
          <ac:grpSpMkLst>
            <pc:docMk/>
            <pc:sldMk cId="2534270834" sldId="269"/>
            <ac:grpSpMk id="31" creationId="{6E5EC099-D480-67F2-0081-DD4A259AE55D}"/>
          </ac:grpSpMkLst>
        </pc:grpChg>
        <pc:grpChg chg="del mod">
          <ac:chgData name="Erika Xirouchaki (ATH)" userId="c1e7015d-7349-406b-b2d1-a943b5c1154d" providerId="ADAL" clId="{4244FCE3-063A-484F-97F9-07421ADE8F48}" dt="2024-11-19T12:46:12.274" v="1658" actId="165"/>
          <ac:grpSpMkLst>
            <pc:docMk/>
            <pc:sldMk cId="2534270834" sldId="269"/>
            <ac:grpSpMk id="32" creationId="{3E5A2A04-4C65-B34C-1CD8-44FDFA14449D}"/>
          </ac:grpSpMkLst>
        </pc:grpChg>
        <pc:grpChg chg="add del mod">
          <ac:chgData name="Erika Xirouchaki (ATH)" userId="c1e7015d-7349-406b-b2d1-a943b5c1154d" providerId="ADAL" clId="{4244FCE3-063A-484F-97F9-07421ADE8F48}" dt="2024-11-19T12:50:14.605" v="1691" actId="478"/>
          <ac:grpSpMkLst>
            <pc:docMk/>
            <pc:sldMk cId="2534270834" sldId="269"/>
            <ac:grpSpMk id="36" creationId="{576EA4A2-CF14-15C6-CC17-A8302ED36235}"/>
          </ac:grpSpMkLst>
        </pc:grpChg>
        <pc:grpChg chg="add mod">
          <ac:chgData name="Erika Xirouchaki (ATH)" userId="c1e7015d-7349-406b-b2d1-a943b5c1154d" providerId="ADAL" clId="{4244FCE3-063A-484F-97F9-07421ADE8F48}" dt="2024-11-19T12:47:13.383" v="1674" actId="164"/>
          <ac:grpSpMkLst>
            <pc:docMk/>
            <pc:sldMk cId="2534270834" sldId="269"/>
            <ac:grpSpMk id="41" creationId="{3333F87E-A053-DD40-9B08-A189FF848680}"/>
          </ac:grpSpMkLst>
        </pc:grpChg>
        <pc:grpChg chg="add del mod">
          <ac:chgData name="Erika Xirouchaki (ATH)" userId="c1e7015d-7349-406b-b2d1-a943b5c1154d" providerId="ADAL" clId="{4244FCE3-063A-484F-97F9-07421ADE8F48}" dt="2024-11-19T12:50:17.737" v="1692" actId="478"/>
          <ac:grpSpMkLst>
            <pc:docMk/>
            <pc:sldMk cId="2534270834" sldId="269"/>
            <ac:grpSpMk id="42" creationId="{88883359-CD02-E7AE-0250-A5E7AE1518A9}"/>
          </ac:grpSpMkLst>
        </pc:grpChg>
        <pc:grpChg chg="add mod">
          <ac:chgData name="Erika Xirouchaki (ATH)" userId="c1e7015d-7349-406b-b2d1-a943b5c1154d" providerId="ADAL" clId="{4244FCE3-063A-484F-97F9-07421ADE8F48}" dt="2024-11-19T12:49:38.213" v="1685" actId="164"/>
          <ac:grpSpMkLst>
            <pc:docMk/>
            <pc:sldMk cId="2534270834" sldId="269"/>
            <ac:grpSpMk id="44" creationId="{10A718F1-1306-2362-BEC9-9F2FC52FD621}"/>
          </ac:grpSpMkLst>
        </pc:grpChg>
        <pc:graphicFrameChg chg="del mod">
          <ac:chgData name="Erika Xirouchaki (ATH)" userId="c1e7015d-7349-406b-b2d1-a943b5c1154d" providerId="ADAL" clId="{4244FCE3-063A-484F-97F9-07421ADE8F48}" dt="2024-11-19T12:46:03.876" v="1657" actId="18245"/>
          <ac:graphicFrameMkLst>
            <pc:docMk/>
            <pc:sldMk cId="2534270834" sldId="269"/>
            <ac:graphicFrameMk id="7" creationId="{43B9C5EF-E1CA-3E6C-EC94-5BDED359BFEE}"/>
          </ac:graphicFrameMkLst>
        </pc:graphicFrameChg>
        <pc:picChg chg="mod">
          <ac:chgData name="Erika Xirouchaki (ATH)" userId="c1e7015d-7349-406b-b2d1-a943b5c1154d" providerId="ADAL" clId="{4244FCE3-063A-484F-97F9-07421ADE8F48}" dt="2024-11-19T12:44:36.983" v="1651" actId="1076"/>
          <ac:picMkLst>
            <pc:docMk/>
            <pc:sldMk cId="2534270834" sldId="269"/>
            <ac:picMk id="2" creationId="{74E5825A-B829-5FF4-A093-DF9BB27D5F59}"/>
          </ac:picMkLst>
        </pc:picChg>
        <pc:picChg chg="add del mod">
          <ac:chgData name="Erika Xirouchaki (ATH)" userId="c1e7015d-7349-406b-b2d1-a943b5c1154d" providerId="ADAL" clId="{4244FCE3-063A-484F-97F9-07421ADE8F48}" dt="2024-11-19T12:43:50.002" v="1644" actId="478"/>
          <ac:picMkLst>
            <pc:docMk/>
            <pc:sldMk cId="2534270834" sldId="269"/>
            <ac:picMk id="5" creationId="{43E6919E-E108-E3F4-7271-AF718B0772E8}"/>
          </ac:picMkLst>
        </pc:picChg>
        <pc:picChg chg="del">
          <ac:chgData name="Erika Xirouchaki (ATH)" userId="c1e7015d-7349-406b-b2d1-a943b5c1154d" providerId="ADAL" clId="{4244FCE3-063A-484F-97F9-07421ADE8F48}" dt="2024-11-19T12:30:17.800" v="1640" actId="478"/>
          <ac:picMkLst>
            <pc:docMk/>
            <pc:sldMk cId="2534270834" sldId="269"/>
            <ac:picMk id="6" creationId="{84DD005A-45D8-49F6-2ED2-E312403E5A78}"/>
          </ac:picMkLst>
        </pc:picChg>
        <pc:picChg chg="add mod">
          <ac:chgData name="Erika Xirouchaki (ATH)" userId="c1e7015d-7349-406b-b2d1-a943b5c1154d" providerId="ADAL" clId="{4244FCE3-063A-484F-97F9-07421ADE8F48}" dt="2024-11-19T12:45:31.853" v="1656" actId="164"/>
          <ac:picMkLst>
            <pc:docMk/>
            <pc:sldMk cId="2534270834" sldId="269"/>
            <ac:picMk id="12" creationId="{96514CEB-0C63-9837-7C25-AEFDA5C0F1EF}"/>
          </ac:picMkLst>
        </pc:picChg>
        <pc:picChg chg="add mod">
          <ac:chgData name="Erika Xirouchaki (ATH)" userId="c1e7015d-7349-406b-b2d1-a943b5c1154d" providerId="ADAL" clId="{4244FCE3-063A-484F-97F9-07421ADE8F48}" dt="2024-11-19T12:45:31.853" v="1656" actId="164"/>
          <ac:picMkLst>
            <pc:docMk/>
            <pc:sldMk cId="2534270834" sldId="269"/>
            <ac:picMk id="13" creationId="{FCE97EA9-9336-2C49-A559-2D1999DD0EA1}"/>
          </ac:picMkLst>
        </pc:picChg>
        <pc:picChg chg="add mod">
          <ac:chgData name="Erika Xirouchaki (ATH)" userId="c1e7015d-7349-406b-b2d1-a943b5c1154d" providerId="ADAL" clId="{4244FCE3-063A-484F-97F9-07421ADE8F48}" dt="2024-11-19T12:45:31.853" v="1656" actId="164"/>
          <ac:picMkLst>
            <pc:docMk/>
            <pc:sldMk cId="2534270834" sldId="269"/>
            <ac:picMk id="16" creationId="{D6D7D3FD-37A7-DF88-D911-21BCD69A1461}"/>
          </ac:picMkLst>
        </pc:picChg>
        <pc:picChg chg="add mod">
          <ac:chgData name="Erika Xirouchaki (ATH)" userId="c1e7015d-7349-406b-b2d1-a943b5c1154d" providerId="ADAL" clId="{4244FCE3-063A-484F-97F9-07421ADE8F48}" dt="2024-11-19T12:45:31.853" v="1656" actId="164"/>
          <ac:picMkLst>
            <pc:docMk/>
            <pc:sldMk cId="2534270834" sldId="269"/>
            <ac:picMk id="18" creationId="{2B25605F-4508-F45A-54CF-0AE30F253292}"/>
          </ac:picMkLst>
        </pc:picChg>
        <pc:picChg chg="add mod">
          <ac:chgData name="Erika Xirouchaki (ATH)" userId="c1e7015d-7349-406b-b2d1-a943b5c1154d" providerId="ADAL" clId="{4244FCE3-063A-484F-97F9-07421ADE8F48}" dt="2024-11-19T12:45:26.499" v="1655" actId="164"/>
          <ac:picMkLst>
            <pc:docMk/>
            <pc:sldMk cId="2534270834" sldId="269"/>
            <ac:picMk id="22" creationId="{F3D00DD3-8CC3-30C4-2E0F-D99E775824D7}"/>
          </ac:picMkLst>
        </pc:picChg>
        <pc:picChg chg="add mod">
          <ac:chgData name="Erika Xirouchaki (ATH)" userId="c1e7015d-7349-406b-b2d1-a943b5c1154d" providerId="ADAL" clId="{4244FCE3-063A-484F-97F9-07421ADE8F48}" dt="2024-11-19T12:45:26.499" v="1655" actId="164"/>
          <ac:picMkLst>
            <pc:docMk/>
            <pc:sldMk cId="2534270834" sldId="269"/>
            <ac:picMk id="23" creationId="{8BF68B71-1FE4-52B7-A164-E33A85E8FB74}"/>
          </ac:picMkLst>
        </pc:picChg>
        <pc:picChg chg="add mod">
          <ac:chgData name="Erika Xirouchaki (ATH)" userId="c1e7015d-7349-406b-b2d1-a943b5c1154d" providerId="ADAL" clId="{4244FCE3-063A-484F-97F9-07421ADE8F48}" dt="2024-11-19T12:45:26.499" v="1655" actId="164"/>
          <ac:picMkLst>
            <pc:docMk/>
            <pc:sldMk cId="2534270834" sldId="269"/>
            <ac:picMk id="24" creationId="{4B6BE88B-66AB-13C0-B43D-B17572B56F12}"/>
          </ac:picMkLst>
        </pc:picChg>
        <pc:picChg chg="add mod">
          <ac:chgData name="Erika Xirouchaki (ATH)" userId="c1e7015d-7349-406b-b2d1-a943b5c1154d" providerId="ADAL" clId="{4244FCE3-063A-484F-97F9-07421ADE8F48}" dt="2024-11-19T12:45:26.499" v="1655" actId="164"/>
          <ac:picMkLst>
            <pc:docMk/>
            <pc:sldMk cId="2534270834" sldId="269"/>
            <ac:picMk id="25" creationId="{60F74353-F721-D09B-3FA0-186EDBEFCA36}"/>
          </ac:picMkLst>
        </pc:picChg>
        <pc:picChg chg="add mod">
          <ac:chgData name="Erika Xirouchaki (ATH)" userId="c1e7015d-7349-406b-b2d1-a943b5c1154d" providerId="ADAL" clId="{4244FCE3-063A-484F-97F9-07421ADE8F48}" dt="2024-11-19T12:47:04.876" v="1672" actId="164"/>
          <ac:picMkLst>
            <pc:docMk/>
            <pc:sldMk cId="2534270834" sldId="269"/>
            <ac:picMk id="37" creationId="{D5BBAD09-9992-F1A6-C1A5-08CA300E8FFE}"/>
          </ac:picMkLst>
        </pc:picChg>
        <pc:picChg chg="add mod">
          <ac:chgData name="Erika Xirouchaki (ATH)" userId="c1e7015d-7349-406b-b2d1-a943b5c1154d" providerId="ADAL" clId="{4244FCE3-063A-484F-97F9-07421ADE8F48}" dt="2024-11-19T12:47:04.876" v="1672" actId="164"/>
          <ac:picMkLst>
            <pc:docMk/>
            <pc:sldMk cId="2534270834" sldId="269"/>
            <ac:picMk id="38" creationId="{343B3626-574B-C2C4-C930-D2E85A190405}"/>
          </ac:picMkLst>
        </pc:picChg>
        <pc:picChg chg="add mod">
          <ac:chgData name="Erika Xirouchaki (ATH)" userId="c1e7015d-7349-406b-b2d1-a943b5c1154d" providerId="ADAL" clId="{4244FCE3-063A-484F-97F9-07421ADE8F48}" dt="2024-11-19T12:47:04.876" v="1672" actId="164"/>
          <ac:picMkLst>
            <pc:docMk/>
            <pc:sldMk cId="2534270834" sldId="269"/>
            <ac:picMk id="39" creationId="{55136D96-8F86-FAAE-BC20-D99F4445D984}"/>
          </ac:picMkLst>
        </pc:picChg>
        <pc:picChg chg="add mod">
          <ac:chgData name="Erika Xirouchaki (ATH)" userId="c1e7015d-7349-406b-b2d1-a943b5c1154d" providerId="ADAL" clId="{4244FCE3-063A-484F-97F9-07421ADE8F48}" dt="2024-11-19T12:47:04.876" v="1672" actId="164"/>
          <ac:picMkLst>
            <pc:docMk/>
            <pc:sldMk cId="2534270834" sldId="269"/>
            <ac:picMk id="40" creationId="{02F11716-157F-03BC-5BEC-6FD47FC91173}"/>
          </ac:picMkLst>
        </pc:picChg>
        <pc:picChg chg="add mod">
          <ac:chgData name="Erika Xirouchaki (ATH)" userId="c1e7015d-7349-406b-b2d1-a943b5c1154d" providerId="ADAL" clId="{4244FCE3-063A-484F-97F9-07421ADE8F48}" dt="2024-11-19T12:49:38.213" v="1685" actId="164"/>
          <ac:picMkLst>
            <pc:docMk/>
            <pc:sldMk cId="2534270834" sldId="269"/>
            <ac:picMk id="43" creationId="{7816C662-F1BB-65FC-A2C6-9E69F1415C99}"/>
          </ac:picMkLst>
        </pc:picChg>
      </pc:sldChg>
      <pc:sldChg chg="modSp">
        <pc:chgData name="Erika Xirouchaki (ATH)" userId="c1e7015d-7349-406b-b2d1-a943b5c1154d" providerId="ADAL" clId="{4244FCE3-063A-484F-97F9-07421ADE8F48}" dt="2024-11-15T10:00:14.320" v="82" actId="12100"/>
        <pc:sldMkLst>
          <pc:docMk/>
          <pc:sldMk cId="3787377941" sldId="271"/>
        </pc:sldMkLst>
        <pc:graphicFrameChg chg="mod">
          <ac:chgData name="Erika Xirouchaki (ATH)" userId="c1e7015d-7349-406b-b2d1-a943b5c1154d" providerId="ADAL" clId="{4244FCE3-063A-484F-97F9-07421ADE8F48}" dt="2024-11-15T10:00:14.320" v="82" actId="12100"/>
          <ac:graphicFrameMkLst>
            <pc:docMk/>
            <pc:sldMk cId="3787377941" sldId="271"/>
            <ac:graphicFrameMk id="7" creationId="{5D2E7CFE-8CFB-8F3D-6847-912F21CB4B16}"/>
          </ac:graphicFrameMkLst>
        </pc:graphicFrameChg>
      </pc:sldChg>
      <pc:sldChg chg="addSp delSp modSp modNotesTx">
        <pc:chgData name="Erika Xirouchaki (ATH)" userId="c1e7015d-7349-406b-b2d1-a943b5c1154d" providerId="ADAL" clId="{4244FCE3-063A-484F-97F9-07421ADE8F48}" dt="2024-11-19T11:54:26.952" v="1365" actId="20577"/>
        <pc:sldMkLst>
          <pc:docMk/>
          <pc:sldMk cId="251721847" sldId="272"/>
        </pc:sldMkLst>
        <pc:spChg chg="del">
          <ac:chgData name="Erika Xirouchaki (ATH)" userId="c1e7015d-7349-406b-b2d1-a943b5c1154d" providerId="ADAL" clId="{4244FCE3-063A-484F-97F9-07421ADE8F48}" dt="2024-11-19T11:47:34.237" v="846" actId="478"/>
          <ac:spMkLst>
            <pc:docMk/>
            <pc:sldMk cId="251721847" sldId="272"/>
            <ac:spMk id="3" creationId="{44D0A738-34E6-E013-7F61-32D13989E900}"/>
          </ac:spMkLst>
        </pc:spChg>
        <pc:spChg chg="add del mod">
          <ac:chgData name="Erika Xirouchaki (ATH)" userId="c1e7015d-7349-406b-b2d1-a943b5c1154d" providerId="ADAL" clId="{4244FCE3-063A-484F-97F9-07421ADE8F48}" dt="2024-11-19T11:47:37.414" v="849" actId="478"/>
          <ac:spMkLst>
            <pc:docMk/>
            <pc:sldMk cId="251721847" sldId="272"/>
            <ac:spMk id="6" creationId="{7B46B6CF-93A6-E8F5-0DCD-F0F9957FA5D8}"/>
          </ac:spMkLst>
        </pc:spChg>
        <pc:spChg chg="add del mod">
          <ac:chgData name="Erika Xirouchaki (ATH)" userId="c1e7015d-7349-406b-b2d1-a943b5c1154d" providerId="ADAL" clId="{4244FCE3-063A-484F-97F9-07421ADE8F48}" dt="2024-11-19T11:47:36.476" v="848" actId="478"/>
          <ac:spMkLst>
            <pc:docMk/>
            <pc:sldMk cId="251721847" sldId="272"/>
            <ac:spMk id="8" creationId="{2C1D1425-C6C7-9EAB-DB7A-DD87235EDE3A}"/>
          </ac:spMkLst>
        </pc:spChg>
        <pc:spChg chg="add mod">
          <ac:chgData name="Erika Xirouchaki (ATH)" userId="c1e7015d-7349-406b-b2d1-a943b5c1154d" providerId="ADAL" clId="{4244FCE3-063A-484F-97F9-07421ADE8F48}" dt="2024-11-19T11:47:38.693" v="850"/>
          <ac:spMkLst>
            <pc:docMk/>
            <pc:sldMk cId="251721847" sldId="272"/>
            <ac:spMk id="9" creationId="{77940537-ECD0-2234-B224-4D345B4E1855}"/>
          </ac:spMkLst>
        </pc:spChg>
      </pc:sldChg>
      <pc:sldChg chg="modSp add del mod ord modNotesTx">
        <pc:chgData name="Erika Xirouchaki (ATH)" userId="c1e7015d-7349-406b-b2d1-a943b5c1154d" providerId="ADAL" clId="{4244FCE3-063A-484F-97F9-07421ADE8F48}" dt="2024-11-19T14:46:52.428" v="1893" actId="1076"/>
        <pc:sldMkLst>
          <pc:docMk/>
          <pc:sldMk cId="3194331816" sldId="273"/>
        </pc:sldMkLst>
        <pc:spChg chg="mod">
          <ac:chgData name="Erika Xirouchaki (ATH)" userId="c1e7015d-7349-406b-b2d1-a943b5c1154d" providerId="ADAL" clId="{4244FCE3-063A-484F-97F9-07421ADE8F48}" dt="2024-11-19T14:46:46.076" v="1892" actId="108"/>
          <ac:spMkLst>
            <pc:docMk/>
            <pc:sldMk cId="3194331816" sldId="273"/>
            <ac:spMk id="3" creationId="{50ACF510-8EA5-4605-5503-C5C1F70ABE83}"/>
          </ac:spMkLst>
        </pc:spChg>
        <pc:graphicFrameChg chg="mod">
          <ac:chgData name="Erika Xirouchaki (ATH)" userId="c1e7015d-7349-406b-b2d1-a943b5c1154d" providerId="ADAL" clId="{4244FCE3-063A-484F-97F9-07421ADE8F48}" dt="2024-11-19T14:46:52.428" v="1893" actId="1076"/>
          <ac:graphicFrameMkLst>
            <pc:docMk/>
            <pc:sldMk cId="3194331816" sldId="273"/>
            <ac:graphicFrameMk id="2" creationId="{1A0CEA45-A5D2-8AE2-77F7-17D364F76611}"/>
          </ac:graphicFrameMkLst>
        </pc:graphicFrameChg>
      </pc:sldChg>
      <pc:sldChg chg="addSp delSp add del mod modNotesTx">
        <pc:chgData name="Erika Xirouchaki (ATH)" userId="c1e7015d-7349-406b-b2d1-a943b5c1154d" providerId="ADAL" clId="{4244FCE3-063A-484F-97F9-07421ADE8F48}" dt="2024-11-19T10:41:16.715" v="543"/>
        <pc:sldMkLst>
          <pc:docMk/>
          <pc:sldMk cId="4021960807" sldId="273"/>
        </pc:sldMkLst>
        <pc:spChg chg="add del">
          <ac:chgData name="Erika Xirouchaki (ATH)" userId="c1e7015d-7349-406b-b2d1-a943b5c1154d" providerId="ADAL" clId="{4244FCE3-063A-484F-97F9-07421ADE8F48}" dt="2024-11-19T10:40:24.151" v="540" actId="22"/>
          <ac:spMkLst>
            <pc:docMk/>
            <pc:sldMk cId="4021960807" sldId="273"/>
            <ac:spMk id="6" creationId="{EABAADC6-FB63-AB19-0CF7-DC0134DC31B2}"/>
          </ac:spMkLst>
        </pc:spChg>
      </pc:sldChg>
      <pc:sldChg chg="modSp mod modNotesTx">
        <pc:chgData name="Erika Xirouchaki (ATH)" userId="c1e7015d-7349-406b-b2d1-a943b5c1154d" providerId="ADAL" clId="{4244FCE3-063A-484F-97F9-07421ADE8F48}" dt="2024-11-19T14:47:06.477" v="1894" actId="108"/>
        <pc:sldMkLst>
          <pc:docMk/>
          <pc:sldMk cId="202947801" sldId="274"/>
        </pc:sldMkLst>
        <pc:spChg chg="mod">
          <ac:chgData name="Erika Xirouchaki (ATH)" userId="c1e7015d-7349-406b-b2d1-a943b5c1154d" providerId="ADAL" clId="{4244FCE3-063A-484F-97F9-07421ADE8F48}" dt="2024-11-19T14:47:06.477" v="1894" actId="108"/>
          <ac:spMkLst>
            <pc:docMk/>
            <pc:sldMk cId="202947801" sldId="274"/>
            <ac:spMk id="3" creationId="{BE3778A4-9222-74DD-9A8C-080E3A218BFB}"/>
          </ac:spMkLst>
        </pc:spChg>
      </pc:sldChg>
      <pc:sldChg chg="addSp delSp modSp mod ord modShow">
        <pc:chgData name="Erika Xirouchaki (ATH)" userId="c1e7015d-7349-406b-b2d1-a943b5c1154d" providerId="ADAL" clId="{4244FCE3-063A-484F-97F9-07421ADE8F48}" dt="2024-11-19T12:20:54.522" v="1639"/>
        <pc:sldMkLst>
          <pc:docMk/>
          <pc:sldMk cId="1871995062" sldId="275"/>
        </pc:sldMkLst>
        <pc:spChg chg="add del mod">
          <ac:chgData name="Erika Xirouchaki (ATH)" userId="c1e7015d-7349-406b-b2d1-a943b5c1154d" providerId="ADAL" clId="{4244FCE3-063A-484F-97F9-07421ADE8F48}" dt="2024-11-15T09:50:57.060" v="22" actId="47"/>
          <ac:spMkLst>
            <pc:docMk/>
            <pc:sldMk cId="1871995062" sldId="275"/>
            <ac:spMk id="2" creationId="{0D951B95-7DBB-4A35-B763-830F4FB58994}"/>
          </ac:spMkLst>
        </pc:spChg>
        <pc:spChg chg="mod topLvl">
          <ac:chgData name="Erika Xirouchaki (ATH)" userId="c1e7015d-7349-406b-b2d1-a943b5c1154d" providerId="ADAL" clId="{4244FCE3-063A-484F-97F9-07421ADE8F48}" dt="2024-11-15T09:51:56.591" v="34" actId="165"/>
          <ac:spMkLst>
            <pc:docMk/>
            <pc:sldMk cId="1871995062" sldId="275"/>
            <ac:spMk id="73" creationId="{6A3F753B-4637-2970-A80E-1262650D9D58}"/>
          </ac:spMkLst>
        </pc:spChg>
        <pc:spChg chg="mod topLvl">
          <ac:chgData name="Erika Xirouchaki (ATH)" userId="c1e7015d-7349-406b-b2d1-a943b5c1154d" providerId="ADAL" clId="{4244FCE3-063A-484F-97F9-07421ADE8F48}" dt="2024-11-15T09:53:23.486" v="38" actId="207"/>
          <ac:spMkLst>
            <pc:docMk/>
            <pc:sldMk cId="1871995062" sldId="275"/>
            <ac:spMk id="74" creationId="{321D99D0-107F-3A73-6997-F7D4D7AB0C39}"/>
          </ac:spMkLst>
        </pc:spChg>
        <pc:spChg chg="mod topLvl">
          <ac:chgData name="Erika Xirouchaki (ATH)" userId="c1e7015d-7349-406b-b2d1-a943b5c1154d" providerId="ADAL" clId="{4244FCE3-063A-484F-97F9-07421ADE8F48}" dt="2024-11-15T09:53:23.486" v="38" actId="207"/>
          <ac:spMkLst>
            <pc:docMk/>
            <pc:sldMk cId="1871995062" sldId="275"/>
            <ac:spMk id="75" creationId="{DCCFF346-3BBF-9B4F-FCF4-C90B4CDD7BA1}"/>
          </ac:spMkLst>
        </pc:spChg>
        <pc:spChg chg="mod topLvl">
          <ac:chgData name="Erika Xirouchaki (ATH)" userId="c1e7015d-7349-406b-b2d1-a943b5c1154d" providerId="ADAL" clId="{4244FCE3-063A-484F-97F9-07421ADE8F48}" dt="2024-11-15T09:53:23.486" v="38" actId="207"/>
          <ac:spMkLst>
            <pc:docMk/>
            <pc:sldMk cId="1871995062" sldId="275"/>
            <ac:spMk id="76" creationId="{3D1CE2B1-30E3-456B-1827-93C51D396D8E}"/>
          </ac:spMkLst>
        </pc:spChg>
        <pc:spChg chg="mod">
          <ac:chgData name="Erika Xirouchaki (ATH)" userId="c1e7015d-7349-406b-b2d1-a943b5c1154d" providerId="ADAL" clId="{4244FCE3-063A-484F-97F9-07421ADE8F48}" dt="2024-11-15T09:54:51.933" v="47" actId="1076"/>
          <ac:spMkLst>
            <pc:docMk/>
            <pc:sldMk cId="1871995062" sldId="275"/>
            <ac:spMk id="79" creationId="{D294E0CF-946C-3A08-9E9A-4BCD225526C0}"/>
          </ac:spMkLst>
        </pc:spChg>
        <pc:spChg chg="mod">
          <ac:chgData name="Erika Xirouchaki (ATH)" userId="c1e7015d-7349-406b-b2d1-a943b5c1154d" providerId="ADAL" clId="{4244FCE3-063A-484F-97F9-07421ADE8F48}" dt="2024-11-15T09:59:53.515" v="72" actId="20577"/>
          <ac:spMkLst>
            <pc:docMk/>
            <pc:sldMk cId="1871995062" sldId="275"/>
            <ac:spMk id="80" creationId="{01469C6E-57AA-EB8D-DD50-BFD0871D5FA2}"/>
          </ac:spMkLst>
        </pc:spChg>
        <pc:spChg chg="mod">
          <ac:chgData name="Erika Xirouchaki (ATH)" userId="c1e7015d-7349-406b-b2d1-a943b5c1154d" providerId="ADAL" clId="{4244FCE3-063A-484F-97F9-07421ADE8F48}" dt="2024-11-15T09:59:53.297" v="71" actId="1076"/>
          <ac:spMkLst>
            <pc:docMk/>
            <pc:sldMk cId="1871995062" sldId="275"/>
            <ac:spMk id="81" creationId="{ADB4B4D6-793E-169C-43CD-69FE416D5E1B}"/>
          </ac:spMkLst>
        </pc:spChg>
        <pc:spChg chg="del mod">
          <ac:chgData name="Erika Xirouchaki (ATH)" userId="c1e7015d-7349-406b-b2d1-a943b5c1154d" providerId="ADAL" clId="{4244FCE3-063A-484F-97F9-07421ADE8F48}" dt="2024-11-15T09:50:43.176" v="17" actId="478"/>
          <ac:spMkLst>
            <pc:docMk/>
            <pc:sldMk cId="1871995062" sldId="275"/>
            <ac:spMk id="82" creationId="{6C265B3B-A0AA-BBA2-0006-2130C2249FF0}"/>
          </ac:spMkLst>
        </pc:spChg>
        <pc:spChg chg="del mod">
          <ac:chgData name="Erika Xirouchaki (ATH)" userId="c1e7015d-7349-406b-b2d1-a943b5c1154d" providerId="ADAL" clId="{4244FCE3-063A-484F-97F9-07421ADE8F48}" dt="2024-11-15T09:50:43.176" v="17" actId="478"/>
          <ac:spMkLst>
            <pc:docMk/>
            <pc:sldMk cId="1871995062" sldId="275"/>
            <ac:spMk id="83" creationId="{A017047C-F686-A5EA-3DE7-115694B4904A}"/>
          </ac:spMkLst>
        </pc:spChg>
        <pc:spChg chg="del mod">
          <ac:chgData name="Erika Xirouchaki (ATH)" userId="c1e7015d-7349-406b-b2d1-a943b5c1154d" providerId="ADAL" clId="{4244FCE3-063A-484F-97F9-07421ADE8F48}" dt="2024-11-15T09:50:43.176" v="17" actId="478"/>
          <ac:spMkLst>
            <pc:docMk/>
            <pc:sldMk cId="1871995062" sldId="275"/>
            <ac:spMk id="84" creationId="{8168F8A1-33AD-322D-DF57-99F6CBA3DF6F}"/>
          </ac:spMkLst>
        </pc:spChg>
        <pc:spChg chg="del mod">
          <ac:chgData name="Erika Xirouchaki (ATH)" userId="c1e7015d-7349-406b-b2d1-a943b5c1154d" providerId="ADAL" clId="{4244FCE3-063A-484F-97F9-07421ADE8F48}" dt="2024-11-15T09:50:43.176" v="17" actId="478"/>
          <ac:spMkLst>
            <pc:docMk/>
            <pc:sldMk cId="1871995062" sldId="275"/>
            <ac:spMk id="85" creationId="{188C9EAF-E728-2F2C-3977-4A928E770DEB}"/>
          </ac:spMkLst>
        </pc:spChg>
        <pc:spChg chg="del mod">
          <ac:chgData name="Erika Xirouchaki (ATH)" userId="c1e7015d-7349-406b-b2d1-a943b5c1154d" providerId="ADAL" clId="{4244FCE3-063A-484F-97F9-07421ADE8F48}" dt="2024-11-15T09:50:43.176" v="17" actId="478"/>
          <ac:spMkLst>
            <pc:docMk/>
            <pc:sldMk cId="1871995062" sldId="275"/>
            <ac:spMk id="86" creationId="{9426DAF7-519C-7ED2-67A5-0542D32F3E09}"/>
          </ac:spMkLst>
        </pc:spChg>
        <pc:grpChg chg="del mod">
          <ac:chgData name="Erika Xirouchaki (ATH)" userId="c1e7015d-7349-406b-b2d1-a943b5c1154d" providerId="ADAL" clId="{4244FCE3-063A-484F-97F9-07421ADE8F48}" dt="2024-11-15T09:51:39.298" v="31" actId="165"/>
          <ac:grpSpMkLst>
            <pc:docMk/>
            <pc:sldMk cId="1871995062" sldId="275"/>
            <ac:grpSpMk id="5" creationId="{EF8D0E51-7A92-709B-20B5-E6EC23D463E4}"/>
          </ac:grpSpMkLst>
        </pc:grpChg>
        <pc:grpChg chg="del mod topLvl">
          <ac:chgData name="Erika Xirouchaki (ATH)" userId="c1e7015d-7349-406b-b2d1-a943b5c1154d" providerId="ADAL" clId="{4244FCE3-063A-484F-97F9-07421ADE8F48}" dt="2024-11-15T09:51:50.593" v="32" actId="165"/>
          <ac:grpSpMkLst>
            <pc:docMk/>
            <pc:sldMk cId="1871995062" sldId="275"/>
            <ac:grpSpMk id="9" creationId="{220FD440-3214-3DDE-84EA-524DBBF44CBB}"/>
          </ac:grpSpMkLst>
        </pc:grpChg>
        <pc:grpChg chg="del mod topLvl">
          <ac:chgData name="Erika Xirouchaki (ATH)" userId="c1e7015d-7349-406b-b2d1-a943b5c1154d" providerId="ADAL" clId="{4244FCE3-063A-484F-97F9-07421ADE8F48}" dt="2024-11-15T09:51:54.512" v="33" actId="165"/>
          <ac:grpSpMkLst>
            <pc:docMk/>
            <pc:sldMk cId="1871995062" sldId="275"/>
            <ac:grpSpMk id="68" creationId="{92C7733E-DC04-3EAB-C070-9248DEF61356}"/>
          </ac:grpSpMkLst>
        </pc:grpChg>
        <pc:grpChg chg="del mod topLvl">
          <ac:chgData name="Erika Xirouchaki (ATH)" userId="c1e7015d-7349-406b-b2d1-a943b5c1154d" providerId="ADAL" clId="{4244FCE3-063A-484F-97F9-07421ADE8F48}" dt="2024-11-15T09:51:56.591" v="34" actId="165"/>
          <ac:grpSpMkLst>
            <pc:docMk/>
            <pc:sldMk cId="1871995062" sldId="275"/>
            <ac:grpSpMk id="70" creationId="{8ADE1711-6C40-9B7F-DEDD-674A3EFC8A9A}"/>
          </ac:grpSpMkLst>
        </pc:grpChg>
        <pc:picChg chg="mod topLvl">
          <ac:chgData name="Erika Xirouchaki (ATH)" userId="c1e7015d-7349-406b-b2d1-a943b5c1154d" providerId="ADAL" clId="{4244FCE3-063A-484F-97F9-07421ADE8F48}" dt="2024-11-15T09:51:39.298" v="31" actId="165"/>
          <ac:picMkLst>
            <pc:docMk/>
            <pc:sldMk cId="1871995062" sldId="275"/>
            <ac:picMk id="6" creationId="{0C83C4A1-D8F4-BBF0-6D59-7FC0FCD33078}"/>
          </ac:picMkLst>
        </pc:picChg>
        <pc:picChg chg="mod topLvl">
          <ac:chgData name="Erika Xirouchaki (ATH)" userId="c1e7015d-7349-406b-b2d1-a943b5c1154d" providerId="ADAL" clId="{4244FCE3-063A-484F-97F9-07421ADE8F48}" dt="2024-11-15T09:51:39.298" v="31" actId="165"/>
          <ac:picMkLst>
            <pc:docMk/>
            <pc:sldMk cId="1871995062" sldId="275"/>
            <ac:picMk id="7" creationId="{ECC43A9A-F767-1BD4-62E9-B809C6A917E8}"/>
          </ac:picMkLst>
        </pc:picChg>
        <pc:picChg chg="mod topLvl">
          <ac:chgData name="Erika Xirouchaki (ATH)" userId="c1e7015d-7349-406b-b2d1-a943b5c1154d" providerId="ADAL" clId="{4244FCE3-063A-484F-97F9-07421ADE8F48}" dt="2024-11-15T09:59:53.728" v="73" actId="1038"/>
          <ac:picMkLst>
            <pc:docMk/>
            <pc:sldMk cId="1871995062" sldId="275"/>
            <ac:picMk id="69" creationId="{3B714017-FE90-CB35-85AC-911C48E748EE}"/>
          </ac:picMkLst>
        </pc:picChg>
        <pc:picChg chg="mod topLvl">
          <ac:chgData name="Erika Xirouchaki (ATH)" userId="c1e7015d-7349-406b-b2d1-a943b5c1154d" providerId="ADAL" clId="{4244FCE3-063A-484F-97F9-07421ADE8F48}" dt="2024-11-15T09:51:54.512" v="33" actId="165"/>
          <ac:picMkLst>
            <pc:docMk/>
            <pc:sldMk cId="1871995062" sldId="275"/>
            <ac:picMk id="71" creationId="{57EB886E-3894-1C2F-3F40-841997AF0DC2}"/>
          </ac:picMkLst>
        </pc:picChg>
        <pc:picChg chg="mod topLvl">
          <ac:chgData name="Erika Xirouchaki (ATH)" userId="c1e7015d-7349-406b-b2d1-a943b5c1154d" providerId="ADAL" clId="{4244FCE3-063A-484F-97F9-07421ADE8F48}" dt="2024-11-15T09:54:07.891" v="44" actId="1076"/>
          <ac:picMkLst>
            <pc:docMk/>
            <pc:sldMk cId="1871995062" sldId="275"/>
            <ac:picMk id="72" creationId="{27021394-A60C-E8B7-0B7B-DB0ACC6261A3}"/>
          </ac:picMkLst>
        </pc:picChg>
      </pc:sldChg>
      <pc:sldChg chg="ord">
        <pc:chgData name="Erika Xirouchaki (ATH)" userId="c1e7015d-7349-406b-b2d1-a943b5c1154d" providerId="ADAL" clId="{4244FCE3-063A-484F-97F9-07421ADE8F48}" dt="2024-11-19T12:20:54.522" v="1639"/>
        <pc:sldMkLst>
          <pc:docMk/>
          <pc:sldMk cId="3793366665" sldId="2145707561"/>
        </pc:sldMkLst>
      </pc:sldChg>
      <pc:sldChg chg="addSp delSp modSp mod ord modNotesTx">
        <pc:chgData name="Erika Xirouchaki (ATH)" userId="c1e7015d-7349-406b-b2d1-a943b5c1154d" providerId="ADAL" clId="{4244FCE3-063A-484F-97F9-07421ADE8F48}" dt="2024-11-19T12:19:17.421" v="1632" actId="20577"/>
        <pc:sldMkLst>
          <pc:docMk/>
          <pc:sldMk cId="1163970992" sldId="2145707580"/>
        </pc:sldMkLst>
        <pc:spChg chg="add del mod">
          <ac:chgData name="Erika Xirouchaki (ATH)" userId="c1e7015d-7349-406b-b2d1-a943b5c1154d" providerId="ADAL" clId="{4244FCE3-063A-484F-97F9-07421ADE8F48}" dt="2024-11-19T09:41:04.990" v="99" actId="478"/>
          <ac:spMkLst>
            <pc:docMk/>
            <pc:sldMk cId="1163970992" sldId="2145707580"/>
            <ac:spMk id="3" creationId="{DAFED959-77C6-2B4F-28DF-4E9A45F70694}"/>
          </ac:spMkLst>
        </pc:spChg>
        <pc:spChg chg="mod">
          <ac:chgData name="Erika Xirouchaki (ATH)" userId="c1e7015d-7349-406b-b2d1-a943b5c1154d" providerId="ADAL" clId="{4244FCE3-063A-484F-97F9-07421ADE8F48}" dt="2024-11-19T12:19:17.421" v="1632" actId="20577"/>
          <ac:spMkLst>
            <pc:docMk/>
            <pc:sldMk cId="1163970992" sldId="2145707580"/>
            <ac:spMk id="6" creationId="{8D9BF6DF-4ADB-4950-BDCB-936F91049F0F}"/>
          </ac:spMkLst>
        </pc:spChg>
        <pc:picChg chg="add mod">
          <ac:chgData name="Erika Xirouchaki (ATH)" userId="c1e7015d-7349-406b-b2d1-a943b5c1154d" providerId="ADAL" clId="{4244FCE3-063A-484F-97F9-07421ADE8F48}" dt="2024-11-19T09:40:51.617" v="95"/>
          <ac:picMkLst>
            <pc:docMk/>
            <pc:sldMk cId="1163970992" sldId="2145707580"/>
            <ac:picMk id="2" creationId="{2954AFD8-5CC8-9D94-C3E5-2A0C02BC8972}"/>
          </ac:picMkLst>
        </pc:picChg>
      </pc:sldChg>
      <pc:sldChg chg="addSp delSp modSp mod modNotesTx">
        <pc:chgData name="Erika Xirouchaki (ATH)" userId="c1e7015d-7349-406b-b2d1-a943b5c1154d" providerId="ADAL" clId="{4244FCE3-063A-484F-97F9-07421ADE8F48}" dt="2024-11-19T12:47:59.599" v="1681" actId="14100"/>
        <pc:sldMkLst>
          <pc:docMk/>
          <pc:sldMk cId="2136070199" sldId="2145707737"/>
        </pc:sldMkLst>
        <pc:spChg chg="mod">
          <ac:chgData name="Erika Xirouchaki (ATH)" userId="c1e7015d-7349-406b-b2d1-a943b5c1154d" providerId="ADAL" clId="{4244FCE3-063A-484F-97F9-07421ADE8F48}" dt="2024-11-19T09:40:07.550" v="89" actId="20577"/>
          <ac:spMkLst>
            <pc:docMk/>
            <pc:sldMk cId="2136070199" sldId="2145707737"/>
            <ac:spMk id="4" creationId="{AD703E34-2E70-D0E2-6E04-D8CE003A9934}"/>
          </ac:spMkLst>
        </pc:spChg>
        <pc:spChg chg="mod">
          <ac:chgData name="Erika Xirouchaki (ATH)" userId="c1e7015d-7349-406b-b2d1-a943b5c1154d" providerId="ADAL" clId="{4244FCE3-063A-484F-97F9-07421ADE8F48}" dt="2024-11-19T12:47:59.599" v="1681" actId="14100"/>
          <ac:spMkLst>
            <pc:docMk/>
            <pc:sldMk cId="2136070199" sldId="2145707737"/>
            <ac:spMk id="8" creationId="{B49CEE02-819A-72FE-AAD4-E2606569BA17}"/>
          </ac:spMkLst>
        </pc:spChg>
        <pc:picChg chg="add mod">
          <ac:chgData name="Erika Xirouchaki (ATH)" userId="c1e7015d-7349-406b-b2d1-a943b5c1154d" providerId="ADAL" clId="{4244FCE3-063A-484F-97F9-07421ADE8F48}" dt="2024-11-19T12:47:55.842" v="1680" actId="1076"/>
          <ac:picMkLst>
            <pc:docMk/>
            <pc:sldMk cId="2136070199" sldId="2145707737"/>
            <ac:picMk id="2" creationId="{2AF626E8-E463-A03B-1DDD-7C11971BA911}"/>
          </ac:picMkLst>
        </pc:picChg>
        <pc:picChg chg="add mod">
          <ac:chgData name="Erika Xirouchaki (ATH)" userId="c1e7015d-7349-406b-b2d1-a943b5c1154d" providerId="ADAL" clId="{4244FCE3-063A-484F-97F9-07421ADE8F48}" dt="2024-11-19T09:39:54.662" v="86"/>
          <ac:picMkLst>
            <pc:docMk/>
            <pc:sldMk cId="2136070199" sldId="2145707737"/>
            <ac:picMk id="3" creationId="{456E926B-B412-988E-F09D-4A7A7B2689DA}"/>
          </ac:picMkLst>
        </pc:picChg>
        <pc:picChg chg="del">
          <ac:chgData name="Erika Xirouchaki (ATH)" userId="c1e7015d-7349-406b-b2d1-a943b5c1154d" providerId="ADAL" clId="{4244FCE3-063A-484F-97F9-07421ADE8F48}" dt="2024-11-19T09:39:56.198" v="87" actId="478"/>
          <ac:picMkLst>
            <pc:docMk/>
            <pc:sldMk cId="2136070199" sldId="2145707737"/>
            <ac:picMk id="7" creationId="{F1FCFD9C-1A30-C370-76F0-CDEAF8589289}"/>
          </ac:picMkLst>
        </pc:picChg>
        <pc:picChg chg="del mod">
          <ac:chgData name="Erika Xirouchaki (ATH)" userId="c1e7015d-7349-406b-b2d1-a943b5c1154d" providerId="ADAL" clId="{4244FCE3-063A-484F-97F9-07421ADE8F48}" dt="2024-11-19T12:47:40.271" v="1676" actId="478"/>
          <ac:picMkLst>
            <pc:docMk/>
            <pc:sldMk cId="2136070199" sldId="2145707737"/>
            <ac:picMk id="10" creationId="{F65AFF8F-24AB-07C1-6EBD-94A2198104F4}"/>
          </ac:picMkLst>
        </pc:picChg>
      </pc:sldChg>
      <pc:sldChg chg="addSp delSp modSp mod modNotesTx">
        <pc:chgData name="Erika Xirouchaki (ATH)" userId="c1e7015d-7349-406b-b2d1-a943b5c1154d" providerId="ADAL" clId="{4244FCE3-063A-484F-97F9-07421ADE8F48}" dt="2024-11-19T13:59:05.070" v="1885" actId="1076"/>
        <pc:sldMkLst>
          <pc:docMk/>
          <pc:sldMk cId="1646300689" sldId="2145707738"/>
        </pc:sldMkLst>
        <pc:spChg chg="mod">
          <ac:chgData name="Erika Xirouchaki (ATH)" userId="c1e7015d-7349-406b-b2d1-a943b5c1154d" providerId="ADAL" clId="{4244FCE3-063A-484F-97F9-07421ADE8F48}" dt="2024-11-19T13:00:37.693" v="1857" actId="165"/>
          <ac:spMkLst>
            <pc:docMk/>
            <pc:sldMk cId="1646300689" sldId="2145707738"/>
            <ac:spMk id="2" creationId="{1F45DD5F-333B-C056-680E-8777ED448178}"/>
          </ac:spMkLst>
        </pc:spChg>
        <pc:spChg chg="add del mod">
          <ac:chgData name="Erika Xirouchaki (ATH)" userId="c1e7015d-7349-406b-b2d1-a943b5c1154d" providerId="ADAL" clId="{4244FCE3-063A-484F-97F9-07421ADE8F48}" dt="2024-11-19T13:00:03.506" v="1850" actId="478"/>
          <ac:spMkLst>
            <pc:docMk/>
            <pc:sldMk cId="1646300689" sldId="2145707738"/>
            <ac:spMk id="5" creationId="{F064BA5C-1ED5-26E3-5705-E451B3055996}"/>
          </ac:spMkLst>
        </pc:spChg>
        <pc:spChg chg="add mod">
          <ac:chgData name="Erika Xirouchaki (ATH)" userId="c1e7015d-7349-406b-b2d1-a943b5c1154d" providerId="ADAL" clId="{4244FCE3-063A-484F-97F9-07421ADE8F48}" dt="2024-11-19T12:57:19.865" v="1747" actId="6549"/>
          <ac:spMkLst>
            <pc:docMk/>
            <pc:sldMk cId="1646300689" sldId="2145707738"/>
            <ac:spMk id="8" creationId="{40A9FF74-7256-540C-D49D-1927889FE8F4}"/>
          </ac:spMkLst>
        </pc:spChg>
        <pc:spChg chg="mod">
          <ac:chgData name="Erika Xirouchaki (ATH)" userId="c1e7015d-7349-406b-b2d1-a943b5c1154d" providerId="ADAL" clId="{4244FCE3-063A-484F-97F9-07421ADE8F48}" dt="2024-11-19T12:56:44.884" v="1733" actId="21"/>
          <ac:spMkLst>
            <pc:docMk/>
            <pc:sldMk cId="1646300689" sldId="2145707738"/>
            <ac:spMk id="9" creationId="{34844BDA-DE84-2361-2042-29D808B60142}"/>
          </ac:spMkLst>
        </pc:spChg>
        <pc:spChg chg="add mod">
          <ac:chgData name="Erika Xirouchaki (ATH)" userId="c1e7015d-7349-406b-b2d1-a943b5c1154d" providerId="ADAL" clId="{4244FCE3-063A-484F-97F9-07421ADE8F48}" dt="2024-11-19T12:57:58.927" v="1752"/>
          <ac:spMkLst>
            <pc:docMk/>
            <pc:sldMk cId="1646300689" sldId="2145707738"/>
            <ac:spMk id="17" creationId="{E0E66FFC-4FAB-F437-FE2C-C9927EFD2157}"/>
          </ac:spMkLst>
        </pc:spChg>
        <pc:spChg chg="add mod">
          <ac:chgData name="Erika Xirouchaki (ATH)" userId="c1e7015d-7349-406b-b2d1-a943b5c1154d" providerId="ADAL" clId="{4244FCE3-063A-484F-97F9-07421ADE8F48}" dt="2024-11-19T12:57:58.927" v="1752"/>
          <ac:spMkLst>
            <pc:docMk/>
            <pc:sldMk cId="1646300689" sldId="2145707738"/>
            <ac:spMk id="18" creationId="{40705A5E-E394-4777-2574-D3A7EC93B6E5}"/>
          </ac:spMkLst>
        </pc:spChg>
        <pc:spChg chg="add mod">
          <ac:chgData name="Erika Xirouchaki (ATH)" userId="c1e7015d-7349-406b-b2d1-a943b5c1154d" providerId="ADAL" clId="{4244FCE3-063A-484F-97F9-07421ADE8F48}" dt="2024-11-19T12:57:58.927" v="1752"/>
          <ac:spMkLst>
            <pc:docMk/>
            <pc:sldMk cId="1646300689" sldId="2145707738"/>
            <ac:spMk id="19" creationId="{92D4E370-EF5D-A5EA-8192-B0D3C67FC1FC}"/>
          </ac:spMkLst>
        </pc:spChg>
        <pc:spChg chg="add del mod">
          <ac:chgData name="Erika Xirouchaki (ATH)" userId="c1e7015d-7349-406b-b2d1-a943b5c1154d" providerId="ADAL" clId="{4244FCE3-063A-484F-97F9-07421ADE8F48}" dt="2024-11-19T12:59:24.875" v="1785" actId="478"/>
          <ac:spMkLst>
            <pc:docMk/>
            <pc:sldMk cId="1646300689" sldId="2145707738"/>
            <ac:spMk id="21" creationId="{E2FE8359-1775-782C-D871-A72ACCB7BA21}"/>
          </ac:spMkLst>
        </pc:spChg>
        <pc:spChg chg="mod">
          <ac:chgData name="Erika Xirouchaki (ATH)" userId="c1e7015d-7349-406b-b2d1-a943b5c1154d" providerId="ADAL" clId="{4244FCE3-063A-484F-97F9-07421ADE8F48}" dt="2024-11-19T13:00:37.693" v="1857" actId="165"/>
          <ac:spMkLst>
            <pc:docMk/>
            <pc:sldMk cId="1646300689" sldId="2145707738"/>
            <ac:spMk id="23" creationId="{1FFF0A8B-31B3-19DD-8140-3114B0BB2F03}"/>
          </ac:spMkLst>
        </pc:spChg>
        <pc:spChg chg="mod ord">
          <ac:chgData name="Erika Xirouchaki (ATH)" userId="c1e7015d-7349-406b-b2d1-a943b5c1154d" providerId="ADAL" clId="{4244FCE3-063A-484F-97F9-07421ADE8F48}" dt="2024-11-19T13:01:59.359" v="1871" actId="166"/>
          <ac:spMkLst>
            <pc:docMk/>
            <pc:sldMk cId="1646300689" sldId="2145707738"/>
            <ac:spMk id="24" creationId="{8AF5B178-4A9E-4BB2-85E7-1734790D7681}"/>
          </ac:spMkLst>
        </pc:spChg>
        <pc:spChg chg="add del mod topLvl">
          <ac:chgData name="Erika Xirouchaki (ATH)" userId="c1e7015d-7349-406b-b2d1-a943b5c1154d" providerId="ADAL" clId="{4244FCE3-063A-484F-97F9-07421ADE8F48}" dt="2024-11-19T13:00:37.693" v="1857" actId="165"/>
          <ac:spMkLst>
            <pc:docMk/>
            <pc:sldMk cId="1646300689" sldId="2145707738"/>
            <ac:spMk id="25" creationId="{6A2EBE7C-F4E9-EFBF-1968-E8F472DF1AE8}"/>
          </ac:spMkLst>
        </pc:spChg>
        <pc:spChg chg="add mod">
          <ac:chgData name="Erika Xirouchaki (ATH)" userId="c1e7015d-7349-406b-b2d1-a943b5c1154d" providerId="ADAL" clId="{4244FCE3-063A-484F-97F9-07421ADE8F48}" dt="2024-11-19T12:57:58.927" v="1752"/>
          <ac:spMkLst>
            <pc:docMk/>
            <pc:sldMk cId="1646300689" sldId="2145707738"/>
            <ac:spMk id="27" creationId="{DA98DD84-8718-D6B1-09F1-303AEFDC8E48}"/>
          </ac:spMkLst>
        </pc:spChg>
        <pc:spChg chg="add mod">
          <ac:chgData name="Erika Xirouchaki (ATH)" userId="c1e7015d-7349-406b-b2d1-a943b5c1154d" providerId="ADAL" clId="{4244FCE3-063A-484F-97F9-07421ADE8F48}" dt="2024-11-19T12:57:58.927" v="1752"/>
          <ac:spMkLst>
            <pc:docMk/>
            <pc:sldMk cId="1646300689" sldId="2145707738"/>
            <ac:spMk id="28" creationId="{A6158F5A-C4C1-E08F-CD74-A5C82E55DA5F}"/>
          </ac:spMkLst>
        </pc:spChg>
        <pc:spChg chg="del mod">
          <ac:chgData name="Erika Xirouchaki (ATH)" userId="c1e7015d-7349-406b-b2d1-a943b5c1154d" providerId="ADAL" clId="{4244FCE3-063A-484F-97F9-07421ADE8F48}" dt="2024-11-19T12:57:14.620" v="1744" actId="478"/>
          <ac:spMkLst>
            <pc:docMk/>
            <pc:sldMk cId="1646300689" sldId="2145707738"/>
            <ac:spMk id="29" creationId="{B5AE122D-B88D-9CED-8722-B43FF88A8E82}"/>
          </ac:spMkLst>
        </pc:spChg>
        <pc:spChg chg="add mod">
          <ac:chgData name="Erika Xirouchaki (ATH)" userId="c1e7015d-7349-406b-b2d1-a943b5c1154d" providerId="ADAL" clId="{4244FCE3-063A-484F-97F9-07421ADE8F48}" dt="2024-11-19T12:57:58.927" v="1752"/>
          <ac:spMkLst>
            <pc:docMk/>
            <pc:sldMk cId="1646300689" sldId="2145707738"/>
            <ac:spMk id="31" creationId="{3777AB93-F46E-E536-BAE3-73DAF3A1992B}"/>
          </ac:spMkLst>
        </pc:spChg>
        <pc:spChg chg="add mod">
          <ac:chgData name="Erika Xirouchaki (ATH)" userId="c1e7015d-7349-406b-b2d1-a943b5c1154d" providerId="ADAL" clId="{4244FCE3-063A-484F-97F9-07421ADE8F48}" dt="2024-11-19T12:57:58.927" v="1752"/>
          <ac:spMkLst>
            <pc:docMk/>
            <pc:sldMk cId="1646300689" sldId="2145707738"/>
            <ac:spMk id="32" creationId="{DD3E90B5-216B-6F3E-BB29-8A2DFC65CED7}"/>
          </ac:spMkLst>
        </pc:spChg>
        <pc:spChg chg="add mod">
          <ac:chgData name="Erika Xirouchaki (ATH)" userId="c1e7015d-7349-406b-b2d1-a943b5c1154d" providerId="ADAL" clId="{4244FCE3-063A-484F-97F9-07421ADE8F48}" dt="2024-11-19T12:57:58.927" v="1752"/>
          <ac:spMkLst>
            <pc:docMk/>
            <pc:sldMk cId="1646300689" sldId="2145707738"/>
            <ac:spMk id="33" creationId="{3990B82B-273D-2B50-CDC1-9755690AE11F}"/>
          </ac:spMkLst>
        </pc:spChg>
        <pc:spChg chg="add mod">
          <ac:chgData name="Erika Xirouchaki (ATH)" userId="c1e7015d-7349-406b-b2d1-a943b5c1154d" providerId="ADAL" clId="{4244FCE3-063A-484F-97F9-07421ADE8F48}" dt="2024-11-19T12:57:58.927" v="1752"/>
          <ac:spMkLst>
            <pc:docMk/>
            <pc:sldMk cId="1646300689" sldId="2145707738"/>
            <ac:spMk id="34" creationId="{D3CA1901-DFA9-F1D3-5689-8A7C46093B56}"/>
          </ac:spMkLst>
        </pc:spChg>
        <pc:spChg chg="add del mod topLvl">
          <ac:chgData name="Erika Xirouchaki (ATH)" userId="c1e7015d-7349-406b-b2d1-a943b5c1154d" providerId="ADAL" clId="{4244FCE3-063A-484F-97F9-07421ADE8F48}" dt="2024-11-19T13:00:37.693" v="1857" actId="165"/>
          <ac:spMkLst>
            <pc:docMk/>
            <pc:sldMk cId="1646300689" sldId="2145707738"/>
            <ac:spMk id="35" creationId="{8F7875F2-7112-3A5E-E5A3-F5CD74805EC4}"/>
          </ac:spMkLst>
        </pc:spChg>
        <pc:spChg chg="add del mod ord topLvl">
          <ac:chgData name="Erika Xirouchaki (ATH)" userId="c1e7015d-7349-406b-b2d1-a943b5c1154d" providerId="ADAL" clId="{4244FCE3-063A-484F-97F9-07421ADE8F48}" dt="2024-11-19T13:02:07.531" v="1872" actId="167"/>
          <ac:spMkLst>
            <pc:docMk/>
            <pc:sldMk cId="1646300689" sldId="2145707738"/>
            <ac:spMk id="36" creationId="{003A2471-946C-712B-454D-D41A34C47CA7}"/>
          </ac:spMkLst>
        </pc:spChg>
        <pc:spChg chg="add mod">
          <ac:chgData name="Erika Xirouchaki (ATH)" userId="c1e7015d-7349-406b-b2d1-a943b5c1154d" providerId="ADAL" clId="{4244FCE3-063A-484F-97F9-07421ADE8F48}" dt="2024-11-19T12:57:58.927" v="1752"/>
          <ac:spMkLst>
            <pc:docMk/>
            <pc:sldMk cId="1646300689" sldId="2145707738"/>
            <ac:spMk id="37" creationId="{E09157BA-480F-C0C5-00FA-8EA1227B2634}"/>
          </ac:spMkLst>
        </pc:spChg>
        <pc:spChg chg="mod">
          <ac:chgData name="Erika Xirouchaki (ATH)" userId="c1e7015d-7349-406b-b2d1-a943b5c1154d" providerId="ADAL" clId="{4244FCE3-063A-484F-97F9-07421ADE8F48}" dt="2024-11-19T13:00:37.693" v="1857" actId="165"/>
          <ac:spMkLst>
            <pc:docMk/>
            <pc:sldMk cId="1646300689" sldId="2145707738"/>
            <ac:spMk id="39" creationId="{339AF413-B83F-630D-FED1-DAA4DC138FCA}"/>
          </ac:spMkLst>
        </pc:spChg>
        <pc:spChg chg="add mod">
          <ac:chgData name="Erika Xirouchaki (ATH)" userId="c1e7015d-7349-406b-b2d1-a943b5c1154d" providerId="ADAL" clId="{4244FCE3-063A-484F-97F9-07421ADE8F48}" dt="2024-11-19T12:57:58.927" v="1752"/>
          <ac:spMkLst>
            <pc:docMk/>
            <pc:sldMk cId="1646300689" sldId="2145707738"/>
            <ac:spMk id="40" creationId="{36E6FECA-B196-2EDF-402A-7DFAE8C57161}"/>
          </ac:spMkLst>
        </pc:spChg>
        <pc:spChg chg="mod">
          <ac:chgData name="Erika Xirouchaki (ATH)" userId="c1e7015d-7349-406b-b2d1-a943b5c1154d" providerId="ADAL" clId="{4244FCE3-063A-484F-97F9-07421ADE8F48}" dt="2024-11-19T13:00:37.693" v="1857" actId="165"/>
          <ac:spMkLst>
            <pc:docMk/>
            <pc:sldMk cId="1646300689" sldId="2145707738"/>
            <ac:spMk id="41" creationId="{C2FFCC60-D093-A3CF-4EFD-2A20E3060493}"/>
          </ac:spMkLst>
        </pc:spChg>
        <pc:spChg chg="add del mod">
          <ac:chgData name="Erika Xirouchaki (ATH)" userId="c1e7015d-7349-406b-b2d1-a943b5c1154d" providerId="ADAL" clId="{4244FCE3-063A-484F-97F9-07421ADE8F48}" dt="2024-11-19T13:59:05.070" v="1885" actId="1076"/>
          <ac:spMkLst>
            <pc:docMk/>
            <pc:sldMk cId="1646300689" sldId="2145707738"/>
            <ac:spMk id="42" creationId="{65B10827-4F00-4332-56A5-51001BE02153}"/>
          </ac:spMkLst>
        </pc:spChg>
        <pc:spChg chg="mod">
          <ac:chgData name="Erika Xirouchaki (ATH)" userId="c1e7015d-7349-406b-b2d1-a943b5c1154d" providerId="ADAL" clId="{4244FCE3-063A-484F-97F9-07421ADE8F48}" dt="2024-11-19T13:00:37.693" v="1857" actId="165"/>
          <ac:spMkLst>
            <pc:docMk/>
            <pc:sldMk cId="1646300689" sldId="2145707738"/>
            <ac:spMk id="43" creationId="{86323200-E7E1-7A5F-BC9B-621318E259B8}"/>
          </ac:spMkLst>
        </pc:spChg>
        <pc:spChg chg="mod">
          <ac:chgData name="Erika Xirouchaki (ATH)" userId="c1e7015d-7349-406b-b2d1-a943b5c1154d" providerId="ADAL" clId="{4244FCE3-063A-484F-97F9-07421ADE8F48}" dt="2024-11-19T13:00:37.693" v="1857" actId="165"/>
          <ac:spMkLst>
            <pc:docMk/>
            <pc:sldMk cId="1646300689" sldId="2145707738"/>
            <ac:spMk id="44" creationId="{C5A6669E-079A-A345-F2DD-43DBA442C4EC}"/>
          </ac:spMkLst>
        </pc:spChg>
        <pc:spChg chg="mod">
          <ac:chgData name="Erika Xirouchaki (ATH)" userId="c1e7015d-7349-406b-b2d1-a943b5c1154d" providerId="ADAL" clId="{4244FCE3-063A-484F-97F9-07421ADE8F48}" dt="2024-11-19T13:03:09.890" v="1883" actId="14100"/>
          <ac:spMkLst>
            <pc:docMk/>
            <pc:sldMk cId="1646300689" sldId="2145707738"/>
            <ac:spMk id="45" creationId="{12F71552-1FEF-FD1F-2BD6-8FFC2AF04025}"/>
          </ac:spMkLst>
        </pc:spChg>
        <pc:spChg chg="mod">
          <ac:chgData name="Erika Xirouchaki (ATH)" userId="c1e7015d-7349-406b-b2d1-a943b5c1154d" providerId="ADAL" clId="{4244FCE3-063A-484F-97F9-07421ADE8F48}" dt="2024-11-19T13:00:37.693" v="1857" actId="165"/>
          <ac:spMkLst>
            <pc:docMk/>
            <pc:sldMk cId="1646300689" sldId="2145707738"/>
            <ac:spMk id="47" creationId="{EBEE723F-58A6-C324-2323-E301E64D04D8}"/>
          </ac:spMkLst>
        </pc:spChg>
        <pc:spChg chg="mod">
          <ac:chgData name="Erika Xirouchaki (ATH)" userId="c1e7015d-7349-406b-b2d1-a943b5c1154d" providerId="ADAL" clId="{4244FCE3-063A-484F-97F9-07421ADE8F48}" dt="2024-11-19T13:03:01.063" v="1881" actId="1076"/>
          <ac:spMkLst>
            <pc:docMk/>
            <pc:sldMk cId="1646300689" sldId="2145707738"/>
            <ac:spMk id="48" creationId="{BF0E4986-C01C-7A4F-BEF2-F5A7A14B7FCB}"/>
          </ac:spMkLst>
        </pc:spChg>
        <pc:spChg chg="add mod">
          <ac:chgData name="Erika Xirouchaki (ATH)" userId="c1e7015d-7349-406b-b2d1-a943b5c1154d" providerId="ADAL" clId="{4244FCE3-063A-484F-97F9-07421ADE8F48}" dt="2024-11-19T12:57:58.927" v="1752"/>
          <ac:spMkLst>
            <pc:docMk/>
            <pc:sldMk cId="1646300689" sldId="2145707738"/>
            <ac:spMk id="49" creationId="{D86B0ED8-47A1-2EEB-0119-F340BDC4E3E2}"/>
          </ac:spMkLst>
        </pc:spChg>
        <pc:spChg chg="mod">
          <ac:chgData name="Erika Xirouchaki (ATH)" userId="c1e7015d-7349-406b-b2d1-a943b5c1154d" providerId="ADAL" clId="{4244FCE3-063A-484F-97F9-07421ADE8F48}" dt="2024-11-19T13:00:37.693" v="1857" actId="165"/>
          <ac:spMkLst>
            <pc:docMk/>
            <pc:sldMk cId="1646300689" sldId="2145707738"/>
            <ac:spMk id="50" creationId="{A6F9B51D-C61B-C081-2D04-44C0B342D73B}"/>
          </ac:spMkLst>
        </pc:spChg>
        <pc:spChg chg="add mod">
          <ac:chgData name="Erika Xirouchaki (ATH)" userId="c1e7015d-7349-406b-b2d1-a943b5c1154d" providerId="ADAL" clId="{4244FCE3-063A-484F-97F9-07421ADE8F48}" dt="2024-11-19T12:57:58.927" v="1752"/>
          <ac:spMkLst>
            <pc:docMk/>
            <pc:sldMk cId="1646300689" sldId="2145707738"/>
            <ac:spMk id="51" creationId="{551F7209-707E-154A-5422-2ED1030E1E6A}"/>
          </ac:spMkLst>
        </pc:spChg>
        <pc:spChg chg="mod">
          <ac:chgData name="Erika Xirouchaki (ATH)" userId="c1e7015d-7349-406b-b2d1-a943b5c1154d" providerId="ADAL" clId="{4244FCE3-063A-484F-97F9-07421ADE8F48}" dt="2024-11-19T13:00:37.693" v="1857" actId="165"/>
          <ac:spMkLst>
            <pc:docMk/>
            <pc:sldMk cId="1646300689" sldId="2145707738"/>
            <ac:spMk id="52" creationId="{2D2057B8-E13E-315C-1C5E-907ADB611B68}"/>
          </ac:spMkLst>
        </pc:spChg>
        <pc:spChg chg="add mod">
          <ac:chgData name="Erika Xirouchaki (ATH)" userId="c1e7015d-7349-406b-b2d1-a943b5c1154d" providerId="ADAL" clId="{4244FCE3-063A-484F-97F9-07421ADE8F48}" dt="2024-11-19T12:57:58.927" v="1752"/>
          <ac:spMkLst>
            <pc:docMk/>
            <pc:sldMk cId="1646300689" sldId="2145707738"/>
            <ac:spMk id="53" creationId="{FE082061-C868-8B43-7F9F-AE50A563EB7A}"/>
          </ac:spMkLst>
        </pc:spChg>
        <pc:spChg chg="add mod">
          <ac:chgData name="Erika Xirouchaki (ATH)" userId="c1e7015d-7349-406b-b2d1-a943b5c1154d" providerId="ADAL" clId="{4244FCE3-063A-484F-97F9-07421ADE8F48}" dt="2024-11-19T12:57:58.927" v="1752"/>
          <ac:spMkLst>
            <pc:docMk/>
            <pc:sldMk cId="1646300689" sldId="2145707738"/>
            <ac:spMk id="54" creationId="{96629B0F-5308-625B-D58C-6D7BF96CA497}"/>
          </ac:spMkLst>
        </pc:spChg>
        <pc:spChg chg="mod">
          <ac:chgData name="Erika Xirouchaki (ATH)" userId="c1e7015d-7349-406b-b2d1-a943b5c1154d" providerId="ADAL" clId="{4244FCE3-063A-484F-97F9-07421ADE8F48}" dt="2024-11-19T13:00:37.693" v="1857" actId="165"/>
          <ac:spMkLst>
            <pc:docMk/>
            <pc:sldMk cId="1646300689" sldId="2145707738"/>
            <ac:spMk id="55" creationId="{7AAB4E1D-DFB4-31B7-568B-6672729B8A85}"/>
          </ac:spMkLst>
        </pc:spChg>
        <pc:spChg chg="add mod">
          <ac:chgData name="Erika Xirouchaki (ATH)" userId="c1e7015d-7349-406b-b2d1-a943b5c1154d" providerId="ADAL" clId="{4244FCE3-063A-484F-97F9-07421ADE8F48}" dt="2024-11-19T12:57:58.927" v="1752"/>
          <ac:spMkLst>
            <pc:docMk/>
            <pc:sldMk cId="1646300689" sldId="2145707738"/>
            <ac:spMk id="56" creationId="{4B847E36-2C58-9DA7-60CB-2BFCDABF10DD}"/>
          </ac:spMkLst>
        </pc:spChg>
        <pc:spChg chg="add mod">
          <ac:chgData name="Erika Xirouchaki (ATH)" userId="c1e7015d-7349-406b-b2d1-a943b5c1154d" providerId="ADAL" clId="{4244FCE3-063A-484F-97F9-07421ADE8F48}" dt="2024-11-19T12:57:58.927" v="1752"/>
          <ac:spMkLst>
            <pc:docMk/>
            <pc:sldMk cId="1646300689" sldId="2145707738"/>
            <ac:spMk id="57" creationId="{219F95E0-8DC6-FAD5-293D-FC7CF99531AF}"/>
          </ac:spMkLst>
        </pc:spChg>
        <pc:spChg chg="mod">
          <ac:chgData name="Erika Xirouchaki (ATH)" userId="c1e7015d-7349-406b-b2d1-a943b5c1154d" providerId="ADAL" clId="{4244FCE3-063A-484F-97F9-07421ADE8F48}" dt="2024-11-19T13:00:37.693" v="1857" actId="165"/>
          <ac:spMkLst>
            <pc:docMk/>
            <pc:sldMk cId="1646300689" sldId="2145707738"/>
            <ac:spMk id="59" creationId="{2F3E283E-8EE3-9C4E-E086-E38624C88170}"/>
          </ac:spMkLst>
        </pc:spChg>
        <pc:spChg chg="mod">
          <ac:chgData name="Erika Xirouchaki (ATH)" userId="c1e7015d-7349-406b-b2d1-a943b5c1154d" providerId="ADAL" clId="{4244FCE3-063A-484F-97F9-07421ADE8F48}" dt="2024-11-19T13:00:37.693" v="1857" actId="165"/>
          <ac:spMkLst>
            <pc:docMk/>
            <pc:sldMk cId="1646300689" sldId="2145707738"/>
            <ac:spMk id="60" creationId="{4A962EAF-4C7F-EAEE-6FF4-FFC1EC79251F}"/>
          </ac:spMkLst>
        </pc:spChg>
        <pc:spChg chg="mod">
          <ac:chgData name="Erika Xirouchaki (ATH)" userId="c1e7015d-7349-406b-b2d1-a943b5c1154d" providerId="ADAL" clId="{4244FCE3-063A-484F-97F9-07421ADE8F48}" dt="2024-11-19T13:00:37.693" v="1857" actId="165"/>
          <ac:spMkLst>
            <pc:docMk/>
            <pc:sldMk cId="1646300689" sldId="2145707738"/>
            <ac:spMk id="61" creationId="{9FD1AAF9-7CB8-4094-0C46-074F69A93D6F}"/>
          </ac:spMkLst>
        </pc:spChg>
        <pc:spChg chg="add del mod topLvl">
          <ac:chgData name="Erika Xirouchaki (ATH)" userId="c1e7015d-7349-406b-b2d1-a943b5c1154d" providerId="ADAL" clId="{4244FCE3-063A-484F-97F9-07421ADE8F48}" dt="2024-11-19T13:01:32.341" v="1867" actId="1076"/>
          <ac:spMkLst>
            <pc:docMk/>
            <pc:sldMk cId="1646300689" sldId="2145707738"/>
            <ac:spMk id="73" creationId="{0EB5D454-B966-8240-2675-58064C9419C3}"/>
          </ac:spMkLst>
        </pc:spChg>
        <pc:spChg chg="mod">
          <ac:chgData name="Erika Xirouchaki (ATH)" userId="c1e7015d-7349-406b-b2d1-a943b5c1154d" providerId="ADAL" clId="{4244FCE3-063A-484F-97F9-07421ADE8F48}" dt="2024-11-19T13:00:37.693" v="1857" actId="165"/>
          <ac:spMkLst>
            <pc:docMk/>
            <pc:sldMk cId="1646300689" sldId="2145707738"/>
            <ac:spMk id="75" creationId="{B082DEC9-C525-DCDE-2C2C-5C8365FFD3C1}"/>
          </ac:spMkLst>
        </pc:spChg>
        <pc:spChg chg="mod">
          <ac:chgData name="Erika Xirouchaki (ATH)" userId="c1e7015d-7349-406b-b2d1-a943b5c1154d" providerId="ADAL" clId="{4244FCE3-063A-484F-97F9-07421ADE8F48}" dt="2024-11-19T13:00:37.693" v="1857" actId="165"/>
          <ac:spMkLst>
            <pc:docMk/>
            <pc:sldMk cId="1646300689" sldId="2145707738"/>
            <ac:spMk id="82" creationId="{D1DFC981-0DFC-166D-A23C-2DF48A1C62D7}"/>
          </ac:spMkLst>
        </pc:spChg>
        <pc:spChg chg="mod">
          <ac:chgData name="Erika Xirouchaki (ATH)" userId="c1e7015d-7349-406b-b2d1-a943b5c1154d" providerId="ADAL" clId="{4244FCE3-063A-484F-97F9-07421ADE8F48}" dt="2024-11-19T13:00:37.693" v="1857" actId="165"/>
          <ac:spMkLst>
            <pc:docMk/>
            <pc:sldMk cId="1646300689" sldId="2145707738"/>
            <ac:spMk id="83" creationId="{0D3DDA66-CF65-C473-605E-7E39BB43D0CF}"/>
          </ac:spMkLst>
        </pc:spChg>
        <pc:spChg chg="mod">
          <ac:chgData name="Erika Xirouchaki (ATH)" userId="c1e7015d-7349-406b-b2d1-a943b5c1154d" providerId="ADAL" clId="{4244FCE3-063A-484F-97F9-07421ADE8F48}" dt="2024-11-19T13:02:38.422" v="1874" actId="1076"/>
          <ac:spMkLst>
            <pc:docMk/>
            <pc:sldMk cId="1646300689" sldId="2145707738"/>
            <ac:spMk id="84" creationId="{ECA9B9CB-82D9-59D3-1722-145A6F60E770}"/>
          </ac:spMkLst>
        </pc:spChg>
        <pc:grpChg chg="add del mod topLvl">
          <ac:chgData name="Erika Xirouchaki (ATH)" userId="c1e7015d-7349-406b-b2d1-a943b5c1154d" providerId="ADAL" clId="{4244FCE3-063A-484F-97F9-07421ADE8F48}" dt="2024-11-19T13:03:12.952" v="1884" actId="1076"/>
          <ac:grpSpMkLst>
            <pc:docMk/>
            <pc:sldMk cId="1646300689" sldId="2145707738"/>
            <ac:grpSpMk id="3" creationId="{9026D7EC-8E6F-AA02-1880-6EB869DF4468}"/>
          </ac:grpSpMkLst>
        </pc:grpChg>
        <pc:grpChg chg="del">
          <ac:chgData name="Erika Xirouchaki (ATH)" userId="c1e7015d-7349-406b-b2d1-a943b5c1154d" providerId="ADAL" clId="{4244FCE3-063A-484F-97F9-07421ADE8F48}" dt="2024-11-19T12:56:49.531" v="1735" actId="478"/>
          <ac:grpSpMkLst>
            <pc:docMk/>
            <pc:sldMk cId="1646300689" sldId="2145707738"/>
            <ac:grpSpMk id="11" creationId="{B9319272-B58A-31E5-45B5-4E9369C76BA0}"/>
          </ac:grpSpMkLst>
        </pc:grpChg>
        <pc:grpChg chg="add mod">
          <ac:chgData name="Erika Xirouchaki (ATH)" userId="c1e7015d-7349-406b-b2d1-a943b5c1154d" providerId="ADAL" clId="{4244FCE3-063A-484F-97F9-07421ADE8F48}" dt="2024-11-19T12:57:58.927" v="1752"/>
          <ac:grpSpMkLst>
            <pc:docMk/>
            <pc:sldMk cId="1646300689" sldId="2145707738"/>
            <ac:grpSpMk id="12" creationId="{D1B33A26-1BF6-A28E-DA8C-7E837DDF7DD4}"/>
          </ac:grpSpMkLst>
        </pc:grpChg>
        <pc:grpChg chg="add mod">
          <ac:chgData name="Erika Xirouchaki (ATH)" userId="c1e7015d-7349-406b-b2d1-a943b5c1154d" providerId="ADAL" clId="{4244FCE3-063A-484F-97F9-07421ADE8F48}" dt="2024-11-19T12:57:58.927" v="1752"/>
          <ac:grpSpMkLst>
            <pc:docMk/>
            <pc:sldMk cId="1646300689" sldId="2145707738"/>
            <ac:grpSpMk id="13" creationId="{2108A2DD-D076-57C8-6A36-47A399EAC3B9}"/>
          </ac:grpSpMkLst>
        </pc:grpChg>
        <pc:grpChg chg="add mod">
          <ac:chgData name="Erika Xirouchaki (ATH)" userId="c1e7015d-7349-406b-b2d1-a943b5c1154d" providerId="ADAL" clId="{4244FCE3-063A-484F-97F9-07421ADE8F48}" dt="2024-11-19T12:57:58.927" v="1752"/>
          <ac:grpSpMkLst>
            <pc:docMk/>
            <pc:sldMk cId="1646300689" sldId="2145707738"/>
            <ac:grpSpMk id="14" creationId="{56390939-7369-50CD-03F7-2A4DCC4BFF16}"/>
          </ac:grpSpMkLst>
        </pc:grpChg>
        <pc:grpChg chg="add mod">
          <ac:chgData name="Erika Xirouchaki (ATH)" userId="c1e7015d-7349-406b-b2d1-a943b5c1154d" providerId="ADAL" clId="{4244FCE3-063A-484F-97F9-07421ADE8F48}" dt="2024-11-19T12:57:58.927" v="1752"/>
          <ac:grpSpMkLst>
            <pc:docMk/>
            <pc:sldMk cId="1646300689" sldId="2145707738"/>
            <ac:grpSpMk id="15" creationId="{1576079A-3FEA-4C17-8E56-15D731ECFE9C}"/>
          </ac:grpSpMkLst>
        </pc:grpChg>
        <pc:grpChg chg="add mod">
          <ac:chgData name="Erika Xirouchaki (ATH)" userId="c1e7015d-7349-406b-b2d1-a943b5c1154d" providerId="ADAL" clId="{4244FCE3-063A-484F-97F9-07421ADE8F48}" dt="2024-11-19T12:57:58.927" v="1752"/>
          <ac:grpSpMkLst>
            <pc:docMk/>
            <pc:sldMk cId="1646300689" sldId="2145707738"/>
            <ac:grpSpMk id="16" creationId="{F119BAAB-34C0-7E44-0B33-63C4995B9FE0}"/>
          </ac:grpSpMkLst>
        </pc:grpChg>
        <pc:grpChg chg="add del mod topLvl">
          <ac:chgData name="Erika Xirouchaki (ATH)" userId="c1e7015d-7349-406b-b2d1-a943b5c1154d" providerId="ADAL" clId="{4244FCE3-063A-484F-97F9-07421ADE8F48}" dt="2024-11-19T13:01:36.522" v="1868" actId="1076"/>
          <ac:grpSpMkLst>
            <pc:docMk/>
            <pc:sldMk cId="1646300689" sldId="2145707738"/>
            <ac:grpSpMk id="22" creationId="{26895374-1170-F129-85B3-0ECE48AB0960}"/>
          </ac:grpSpMkLst>
        </pc:grpChg>
        <pc:grpChg chg="add del mod topLvl">
          <ac:chgData name="Erika Xirouchaki (ATH)" userId="c1e7015d-7349-406b-b2d1-a943b5c1154d" providerId="ADAL" clId="{4244FCE3-063A-484F-97F9-07421ADE8F48}" dt="2024-11-19T13:00:37.693" v="1857" actId="165"/>
          <ac:grpSpMkLst>
            <pc:docMk/>
            <pc:sldMk cId="1646300689" sldId="2145707738"/>
            <ac:grpSpMk id="38" creationId="{25F937D7-99F0-F6D1-EB6F-64170FD112A5}"/>
          </ac:grpSpMkLst>
        </pc:grpChg>
        <pc:grpChg chg="add del mod topLvl">
          <ac:chgData name="Erika Xirouchaki (ATH)" userId="c1e7015d-7349-406b-b2d1-a943b5c1154d" providerId="ADAL" clId="{4244FCE3-063A-484F-97F9-07421ADE8F48}" dt="2024-11-19T13:01:09.840" v="1863" actId="1076"/>
          <ac:grpSpMkLst>
            <pc:docMk/>
            <pc:sldMk cId="1646300689" sldId="2145707738"/>
            <ac:grpSpMk id="58" creationId="{2B6AA7D8-7AB8-17C4-9E6A-F8721E1A4B78}"/>
          </ac:grpSpMkLst>
        </pc:grpChg>
        <pc:grpChg chg="add del mod">
          <ac:chgData name="Erika Xirouchaki (ATH)" userId="c1e7015d-7349-406b-b2d1-a943b5c1154d" providerId="ADAL" clId="{4244FCE3-063A-484F-97F9-07421ADE8F48}" dt="2024-11-19T13:00:37.693" v="1857" actId="165"/>
          <ac:grpSpMkLst>
            <pc:docMk/>
            <pc:sldMk cId="1646300689" sldId="2145707738"/>
            <ac:grpSpMk id="62" creationId="{BC5D2756-66A1-0821-0632-A850F476013D}"/>
          </ac:grpSpMkLst>
        </pc:grpChg>
        <pc:grpChg chg="mod">
          <ac:chgData name="Erika Xirouchaki (ATH)" userId="c1e7015d-7349-406b-b2d1-a943b5c1154d" providerId="ADAL" clId="{4244FCE3-063A-484F-97F9-07421ADE8F48}" dt="2024-11-19T13:00:37.693" v="1857" actId="165"/>
          <ac:grpSpMkLst>
            <pc:docMk/>
            <pc:sldMk cId="1646300689" sldId="2145707738"/>
            <ac:grpSpMk id="81" creationId="{12ED8A10-2DA5-6578-ED47-A23D5C1346D0}"/>
          </ac:grpSpMkLst>
        </pc:grpChg>
        <pc:grpChg chg="add del mod topLvl">
          <ac:chgData name="Erika Xirouchaki (ATH)" userId="c1e7015d-7349-406b-b2d1-a943b5c1154d" providerId="ADAL" clId="{4244FCE3-063A-484F-97F9-07421ADE8F48}" dt="2024-11-19T13:00:51.068" v="1860" actId="1076"/>
          <ac:grpSpMkLst>
            <pc:docMk/>
            <pc:sldMk cId="1646300689" sldId="2145707738"/>
            <ac:grpSpMk id="87" creationId="{BE2195CB-3C92-7879-4187-841F91AA5D14}"/>
          </ac:grpSpMkLst>
        </pc:grpChg>
        <pc:grpChg chg="add del mod topLvl">
          <ac:chgData name="Erika Xirouchaki (ATH)" userId="c1e7015d-7349-406b-b2d1-a943b5c1154d" providerId="ADAL" clId="{4244FCE3-063A-484F-97F9-07421ADE8F48}" dt="2024-11-19T13:01:32.341" v="1867" actId="1076"/>
          <ac:grpSpMkLst>
            <pc:docMk/>
            <pc:sldMk cId="1646300689" sldId="2145707738"/>
            <ac:grpSpMk id="88" creationId="{65009A5E-17A0-4AC4-9CDA-29A32A197986}"/>
          </ac:grpSpMkLst>
        </pc:grpChg>
        <pc:grpChg chg="add del mod topLvl">
          <ac:chgData name="Erika Xirouchaki (ATH)" userId="c1e7015d-7349-406b-b2d1-a943b5c1154d" providerId="ADAL" clId="{4244FCE3-063A-484F-97F9-07421ADE8F48}" dt="2024-11-19T13:00:37.693" v="1857" actId="165"/>
          <ac:grpSpMkLst>
            <pc:docMk/>
            <pc:sldMk cId="1646300689" sldId="2145707738"/>
            <ac:grpSpMk id="124" creationId="{CBD3A51B-C25C-9080-8023-72FAB619FB97}"/>
          </ac:grpSpMkLst>
        </pc:grpChg>
        <pc:grpChg chg="add del mod topLvl">
          <ac:chgData name="Erika Xirouchaki (ATH)" userId="c1e7015d-7349-406b-b2d1-a943b5c1154d" providerId="ADAL" clId="{4244FCE3-063A-484F-97F9-07421ADE8F48}" dt="2024-11-19T13:01:36.522" v="1868" actId="1076"/>
          <ac:grpSpMkLst>
            <pc:docMk/>
            <pc:sldMk cId="1646300689" sldId="2145707738"/>
            <ac:grpSpMk id="125" creationId="{D20DF33F-C459-7D4F-96B5-C59A965AFCAD}"/>
          </ac:grpSpMkLst>
        </pc:grpChg>
        <pc:grpChg chg="mod">
          <ac:chgData name="Erika Xirouchaki (ATH)" userId="c1e7015d-7349-406b-b2d1-a943b5c1154d" providerId="ADAL" clId="{4244FCE3-063A-484F-97F9-07421ADE8F48}" dt="2024-11-19T13:00:37.693" v="1857" actId="165"/>
          <ac:grpSpMkLst>
            <pc:docMk/>
            <pc:sldMk cId="1646300689" sldId="2145707738"/>
            <ac:grpSpMk id="126" creationId="{04BE8675-CFE9-248D-9AD1-A721F4FDCCAC}"/>
          </ac:grpSpMkLst>
        </pc:grpChg>
        <pc:grpChg chg="del">
          <ac:chgData name="Erika Xirouchaki (ATH)" userId="c1e7015d-7349-406b-b2d1-a943b5c1154d" providerId="ADAL" clId="{4244FCE3-063A-484F-97F9-07421ADE8F48}" dt="2024-11-19T12:56:39.873" v="1732" actId="478"/>
          <ac:grpSpMkLst>
            <pc:docMk/>
            <pc:sldMk cId="1646300689" sldId="2145707738"/>
            <ac:grpSpMk id="177" creationId="{62FCF0DF-BE0F-81C3-B3E3-AEE5486CF5D4}"/>
          </ac:grpSpMkLst>
        </pc:grpChg>
        <pc:graphicFrameChg chg="add del mod">
          <ac:chgData name="Erika Xirouchaki (ATH)" userId="c1e7015d-7349-406b-b2d1-a943b5c1154d" providerId="ADAL" clId="{4244FCE3-063A-484F-97F9-07421ADE8F48}" dt="2024-11-19T12:59:24.875" v="1785" actId="478"/>
          <ac:graphicFrameMkLst>
            <pc:docMk/>
            <pc:sldMk cId="1646300689" sldId="2145707738"/>
            <ac:graphicFrameMk id="4" creationId="{D3AAB3EA-98FB-9211-4E2C-270B582A4CEF}"/>
          </ac:graphicFrameMkLst>
        </pc:graphicFrameChg>
        <pc:graphicFrameChg chg="add del mod">
          <ac:chgData name="Erika Xirouchaki (ATH)" userId="c1e7015d-7349-406b-b2d1-a943b5c1154d" providerId="ADAL" clId="{4244FCE3-063A-484F-97F9-07421ADE8F48}" dt="2024-11-19T12:59:24.875" v="1785" actId="478"/>
          <ac:graphicFrameMkLst>
            <pc:docMk/>
            <pc:sldMk cId="1646300689" sldId="2145707738"/>
            <ac:graphicFrameMk id="20" creationId="{AA7F935E-FC2F-C4EB-D4B4-E407DD0F429F}"/>
          </ac:graphicFrameMkLst>
        </pc:graphicFrameChg>
        <pc:picChg chg="mod">
          <ac:chgData name="Erika Xirouchaki (ATH)" userId="c1e7015d-7349-406b-b2d1-a943b5c1154d" providerId="ADAL" clId="{4244FCE3-063A-484F-97F9-07421ADE8F48}" dt="2024-11-19T13:03:06.587" v="1882" actId="14100"/>
          <ac:picMkLst>
            <pc:docMk/>
            <pc:sldMk cId="1646300689" sldId="2145707738"/>
            <ac:picMk id="6" creationId="{B6B487EF-86B3-8CE3-5DF4-2445B5FF4AAE}"/>
          </ac:picMkLst>
        </pc:picChg>
        <pc:picChg chg="add mod">
          <ac:chgData name="Erika Xirouchaki (ATH)" userId="c1e7015d-7349-406b-b2d1-a943b5c1154d" providerId="ADAL" clId="{4244FCE3-063A-484F-97F9-07421ADE8F48}" dt="2024-11-19T12:56:56.141" v="1737"/>
          <ac:picMkLst>
            <pc:docMk/>
            <pc:sldMk cId="1646300689" sldId="2145707738"/>
            <ac:picMk id="7" creationId="{B697DF51-6ED2-AB37-238A-149A08D4D5E2}"/>
          </ac:picMkLst>
        </pc:picChg>
        <pc:picChg chg="del">
          <ac:chgData name="Erika Xirouchaki (ATH)" userId="c1e7015d-7349-406b-b2d1-a943b5c1154d" providerId="ADAL" clId="{4244FCE3-063A-484F-97F9-07421ADE8F48}" dt="2024-11-19T12:56:55.291" v="1736" actId="478"/>
          <ac:picMkLst>
            <pc:docMk/>
            <pc:sldMk cId="1646300689" sldId="2145707738"/>
            <ac:picMk id="26" creationId="{865E9642-4F21-A3B5-8874-1A62C8537232}"/>
          </ac:picMkLst>
        </pc:picChg>
        <pc:picChg chg="mod">
          <ac:chgData name="Erika Xirouchaki (ATH)" userId="c1e7015d-7349-406b-b2d1-a943b5c1154d" providerId="ADAL" clId="{4244FCE3-063A-484F-97F9-07421ADE8F48}" dt="2024-11-19T13:02:53.173" v="1878" actId="1076"/>
          <ac:picMkLst>
            <pc:docMk/>
            <pc:sldMk cId="1646300689" sldId="2145707738"/>
            <ac:picMk id="46" creationId="{FEA13929-69CE-E6B0-3446-AF3940F7E910}"/>
          </ac:picMkLst>
        </pc:picChg>
      </pc:sldChg>
      <pc:sldChg chg="ord">
        <pc:chgData name="Erika Xirouchaki (ATH)" userId="c1e7015d-7349-406b-b2d1-a943b5c1154d" providerId="ADAL" clId="{4244FCE3-063A-484F-97F9-07421ADE8F48}" dt="2024-11-19T12:20:54.522" v="1639"/>
        <pc:sldMkLst>
          <pc:docMk/>
          <pc:sldMk cId="2253926812" sldId="2145707739"/>
        </pc:sldMkLst>
      </pc:sldChg>
      <pc:sldChg chg="addSp delSp add mod addAnim delAnim modAnim">
        <pc:chgData name="Erika Xirouchaki (ATH)" userId="c1e7015d-7349-406b-b2d1-a943b5c1154d" providerId="ADAL" clId="{4244FCE3-063A-484F-97F9-07421ADE8F48}" dt="2024-11-19T12:52:06.116" v="1709"/>
        <pc:sldMkLst>
          <pc:docMk/>
          <pc:sldMk cId="3512976319" sldId="2145707740"/>
        </pc:sldMkLst>
        <pc:spChg chg="topLvl">
          <ac:chgData name="Erika Xirouchaki (ATH)" userId="c1e7015d-7349-406b-b2d1-a943b5c1154d" providerId="ADAL" clId="{4244FCE3-063A-484F-97F9-07421ADE8F48}" dt="2024-11-19T12:50:30.779" v="1696" actId="478"/>
          <ac:spMkLst>
            <pc:docMk/>
            <pc:sldMk cId="3512976319" sldId="2145707740"/>
            <ac:spMk id="33" creationId="{DE688CA0-0918-E0EB-5159-406F05934D2A}"/>
          </ac:spMkLst>
        </pc:spChg>
        <pc:grpChg chg="add del">
          <ac:chgData name="Erika Xirouchaki (ATH)" userId="c1e7015d-7349-406b-b2d1-a943b5c1154d" providerId="ADAL" clId="{4244FCE3-063A-484F-97F9-07421ADE8F48}" dt="2024-11-19T12:50:27.094" v="1695" actId="478"/>
          <ac:grpSpMkLst>
            <pc:docMk/>
            <pc:sldMk cId="3512976319" sldId="2145707740"/>
            <ac:grpSpMk id="36" creationId="{89919F43-9BA9-0F6D-A993-39A4C5278AC4}"/>
          </ac:grpSpMkLst>
        </pc:grpChg>
        <pc:grpChg chg="del">
          <ac:chgData name="Erika Xirouchaki (ATH)" userId="c1e7015d-7349-406b-b2d1-a943b5c1154d" providerId="ADAL" clId="{4244FCE3-063A-484F-97F9-07421ADE8F48}" dt="2024-11-19T12:50:22.621" v="1693" actId="478"/>
          <ac:grpSpMkLst>
            <pc:docMk/>
            <pc:sldMk cId="3512976319" sldId="2145707740"/>
            <ac:grpSpMk id="42" creationId="{D96B74A6-0821-F565-F1C4-4DF2F6F421A2}"/>
          </ac:grpSpMkLst>
        </pc:grpChg>
        <pc:grpChg chg="del">
          <ac:chgData name="Erika Xirouchaki (ATH)" userId="c1e7015d-7349-406b-b2d1-a943b5c1154d" providerId="ADAL" clId="{4244FCE3-063A-484F-97F9-07421ADE8F48}" dt="2024-11-19T12:50:30.779" v="1696" actId="478"/>
          <ac:grpSpMkLst>
            <pc:docMk/>
            <pc:sldMk cId="3512976319" sldId="2145707740"/>
            <ac:grpSpMk id="44" creationId="{91E29AFB-7671-C58B-C9DD-084D9680A6DE}"/>
          </ac:grpSpMkLst>
        </pc:grpChg>
        <pc:picChg chg="del topLvl">
          <ac:chgData name="Erika Xirouchaki (ATH)" userId="c1e7015d-7349-406b-b2d1-a943b5c1154d" providerId="ADAL" clId="{4244FCE3-063A-484F-97F9-07421ADE8F48}" dt="2024-11-19T12:50:30.779" v="1696" actId="478"/>
          <ac:picMkLst>
            <pc:docMk/>
            <pc:sldMk cId="3512976319" sldId="2145707740"/>
            <ac:picMk id="43" creationId="{E8CD0C80-397A-81C9-545B-C3C0937910AD}"/>
          </ac:picMkLst>
        </pc:picChg>
      </pc:sldChg>
      <pc:sldChg chg="addSp delSp modSp add mod addAnim delAnim modAnim">
        <pc:chgData name="Erika Xirouchaki (ATH)" userId="c1e7015d-7349-406b-b2d1-a943b5c1154d" providerId="ADAL" clId="{4244FCE3-063A-484F-97F9-07421ADE8F48}" dt="2024-11-19T12:52:10.449" v="1710"/>
        <pc:sldMkLst>
          <pc:docMk/>
          <pc:sldMk cId="3616988078" sldId="2145707741"/>
        </pc:sldMkLst>
        <pc:spChg chg="mod">
          <ac:chgData name="Erika Xirouchaki (ATH)" userId="c1e7015d-7349-406b-b2d1-a943b5c1154d" providerId="ADAL" clId="{4244FCE3-063A-484F-97F9-07421ADE8F48}" dt="2024-11-19T12:50:55.092" v="1698" actId="165"/>
          <ac:spMkLst>
            <pc:docMk/>
            <pc:sldMk cId="3616988078" sldId="2145707741"/>
            <ac:spMk id="8" creationId="{80EC843D-5BCE-7C67-8414-ED6B02993B19}"/>
          </ac:spMkLst>
        </pc:spChg>
        <pc:spChg chg="mod">
          <ac:chgData name="Erika Xirouchaki (ATH)" userId="c1e7015d-7349-406b-b2d1-a943b5c1154d" providerId="ADAL" clId="{4244FCE3-063A-484F-97F9-07421ADE8F48}" dt="2024-11-19T12:50:55.092" v="1698" actId="165"/>
          <ac:spMkLst>
            <pc:docMk/>
            <pc:sldMk cId="3616988078" sldId="2145707741"/>
            <ac:spMk id="9" creationId="{CF34B2EC-66DC-3BFB-D9B3-3222ED3CA330}"/>
          </ac:spMkLst>
        </pc:spChg>
        <pc:spChg chg="mod">
          <ac:chgData name="Erika Xirouchaki (ATH)" userId="c1e7015d-7349-406b-b2d1-a943b5c1154d" providerId="ADAL" clId="{4244FCE3-063A-484F-97F9-07421ADE8F48}" dt="2024-11-19T12:50:55.092" v="1698" actId="165"/>
          <ac:spMkLst>
            <pc:docMk/>
            <pc:sldMk cId="3616988078" sldId="2145707741"/>
            <ac:spMk id="10" creationId="{DBEB6940-BD4B-01B3-9365-D1FDEB778A52}"/>
          </ac:spMkLst>
        </pc:spChg>
        <pc:spChg chg="mod">
          <ac:chgData name="Erika Xirouchaki (ATH)" userId="c1e7015d-7349-406b-b2d1-a943b5c1154d" providerId="ADAL" clId="{4244FCE3-063A-484F-97F9-07421ADE8F48}" dt="2024-11-19T12:50:55.092" v="1698" actId="165"/>
          <ac:spMkLst>
            <pc:docMk/>
            <pc:sldMk cId="3616988078" sldId="2145707741"/>
            <ac:spMk id="11" creationId="{2BFAAFD0-AA6C-34B5-7973-D17F70EA13EB}"/>
          </ac:spMkLst>
        </pc:spChg>
        <pc:spChg chg="mod">
          <ac:chgData name="Erika Xirouchaki (ATH)" userId="c1e7015d-7349-406b-b2d1-a943b5c1154d" providerId="ADAL" clId="{4244FCE3-063A-484F-97F9-07421ADE8F48}" dt="2024-11-19T12:50:55.092" v="1698" actId="165"/>
          <ac:spMkLst>
            <pc:docMk/>
            <pc:sldMk cId="3616988078" sldId="2145707741"/>
            <ac:spMk id="14" creationId="{D89B9F77-8876-C22F-1F67-83B378081E32}"/>
          </ac:spMkLst>
        </pc:spChg>
        <pc:spChg chg="mod">
          <ac:chgData name="Erika Xirouchaki (ATH)" userId="c1e7015d-7349-406b-b2d1-a943b5c1154d" providerId="ADAL" clId="{4244FCE3-063A-484F-97F9-07421ADE8F48}" dt="2024-11-19T12:50:55.092" v="1698" actId="165"/>
          <ac:spMkLst>
            <pc:docMk/>
            <pc:sldMk cId="3616988078" sldId="2145707741"/>
            <ac:spMk id="15" creationId="{BC751592-42D3-ECDE-38E8-D691123F3F08}"/>
          </ac:spMkLst>
        </pc:spChg>
        <pc:spChg chg="mod">
          <ac:chgData name="Erika Xirouchaki (ATH)" userId="c1e7015d-7349-406b-b2d1-a943b5c1154d" providerId="ADAL" clId="{4244FCE3-063A-484F-97F9-07421ADE8F48}" dt="2024-11-19T12:50:55.092" v="1698" actId="165"/>
          <ac:spMkLst>
            <pc:docMk/>
            <pc:sldMk cId="3616988078" sldId="2145707741"/>
            <ac:spMk id="17" creationId="{C52A5E55-6831-94CC-3336-DB2A5715D9F9}"/>
          </ac:spMkLst>
        </pc:spChg>
        <pc:spChg chg="mod">
          <ac:chgData name="Erika Xirouchaki (ATH)" userId="c1e7015d-7349-406b-b2d1-a943b5c1154d" providerId="ADAL" clId="{4244FCE3-063A-484F-97F9-07421ADE8F48}" dt="2024-11-19T12:50:55.092" v="1698" actId="165"/>
          <ac:spMkLst>
            <pc:docMk/>
            <pc:sldMk cId="3616988078" sldId="2145707741"/>
            <ac:spMk id="19" creationId="{20F2E605-1078-8BEE-092A-3EE5A7061CB3}"/>
          </ac:spMkLst>
        </pc:spChg>
        <pc:spChg chg="mod">
          <ac:chgData name="Erika Xirouchaki (ATH)" userId="c1e7015d-7349-406b-b2d1-a943b5c1154d" providerId="ADAL" clId="{4244FCE3-063A-484F-97F9-07421ADE8F48}" dt="2024-11-19T12:50:55.092" v="1698" actId="165"/>
          <ac:spMkLst>
            <pc:docMk/>
            <pc:sldMk cId="3616988078" sldId="2145707741"/>
            <ac:spMk id="20" creationId="{7E5097FC-50E8-F98C-31C1-CE0730C25568}"/>
          </ac:spMkLst>
        </pc:spChg>
        <pc:spChg chg="mod">
          <ac:chgData name="Erika Xirouchaki (ATH)" userId="c1e7015d-7349-406b-b2d1-a943b5c1154d" providerId="ADAL" clId="{4244FCE3-063A-484F-97F9-07421ADE8F48}" dt="2024-11-19T12:50:55.092" v="1698" actId="165"/>
          <ac:spMkLst>
            <pc:docMk/>
            <pc:sldMk cId="3616988078" sldId="2145707741"/>
            <ac:spMk id="21" creationId="{EC7BF9B5-B4B9-D079-CA39-704A00875EBC}"/>
          </ac:spMkLst>
        </pc:spChg>
        <pc:spChg chg="mod">
          <ac:chgData name="Erika Xirouchaki (ATH)" userId="c1e7015d-7349-406b-b2d1-a943b5c1154d" providerId="ADAL" clId="{4244FCE3-063A-484F-97F9-07421ADE8F48}" dt="2024-11-19T12:50:55.092" v="1698" actId="165"/>
          <ac:spMkLst>
            <pc:docMk/>
            <pc:sldMk cId="3616988078" sldId="2145707741"/>
            <ac:spMk id="26" creationId="{788DA940-F2C6-72B7-710F-20E923916083}"/>
          </ac:spMkLst>
        </pc:spChg>
        <pc:spChg chg="mod">
          <ac:chgData name="Erika Xirouchaki (ATH)" userId="c1e7015d-7349-406b-b2d1-a943b5c1154d" providerId="ADAL" clId="{4244FCE3-063A-484F-97F9-07421ADE8F48}" dt="2024-11-19T12:50:55.092" v="1698" actId="165"/>
          <ac:spMkLst>
            <pc:docMk/>
            <pc:sldMk cId="3616988078" sldId="2145707741"/>
            <ac:spMk id="27" creationId="{568E8068-4074-F105-D1A6-F4BAEB1625E8}"/>
          </ac:spMkLst>
        </pc:spChg>
        <pc:spChg chg="mod">
          <ac:chgData name="Erika Xirouchaki (ATH)" userId="c1e7015d-7349-406b-b2d1-a943b5c1154d" providerId="ADAL" clId="{4244FCE3-063A-484F-97F9-07421ADE8F48}" dt="2024-11-19T12:50:55.092" v="1698" actId="165"/>
          <ac:spMkLst>
            <pc:docMk/>
            <pc:sldMk cId="3616988078" sldId="2145707741"/>
            <ac:spMk id="28" creationId="{637E7D7E-BD1F-E0C4-27A3-28CCBA947F10}"/>
          </ac:spMkLst>
        </pc:spChg>
        <pc:spChg chg="mod">
          <ac:chgData name="Erika Xirouchaki (ATH)" userId="c1e7015d-7349-406b-b2d1-a943b5c1154d" providerId="ADAL" clId="{4244FCE3-063A-484F-97F9-07421ADE8F48}" dt="2024-11-19T12:50:55.092" v="1698" actId="165"/>
          <ac:spMkLst>
            <pc:docMk/>
            <pc:sldMk cId="3616988078" sldId="2145707741"/>
            <ac:spMk id="29" creationId="{F659C6F3-BDBB-E14E-4155-14158D2C3CC6}"/>
          </ac:spMkLst>
        </pc:spChg>
        <pc:spChg chg="topLvl">
          <ac:chgData name="Erika Xirouchaki (ATH)" userId="c1e7015d-7349-406b-b2d1-a943b5c1154d" providerId="ADAL" clId="{4244FCE3-063A-484F-97F9-07421ADE8F48}" dt="2024-11-19T12:51:01.552" v="1702" actId="478"/>
          <ac:spMkLst>
            <pc:docMk/>
            <pc:sldMk cId="3616988078" sldId="2145707741"/>
            <ac:spMk id="33" creationId="{4C2E191C-6044-E537-2FAB-625FBF394E54}"/>
          </ac:spMkLst>
        </pc:spChg>
        <pc:spChg chg="mod topLvl">
          <ac:chgData name="Erika Xirouchaki (ATH)" userId="c1e7015d-7349-406b-b2d1-a943b5c1154d" providerId="ADAL" clId="{4244FCE3-063A-484F-97F9-07421ADE8F48}" dt="2024-11-19T12:50:55.092" v="1698" actId="165"/>
          <ac:spMkLst>
            <pc:docMk/>
            <pc:sldMk cId="3616988078" sldId="2145707741"/>
            <ac:spMk id="34" creationId="{A80BEDAB-427E-1910-3B2E-7D18EC854ABD}"/>
          </ac:spMkLst>
        </pc:spChg>
        <pc:grpChg chg="del mod topLvl">
          <ac:chgData name="Erika Xirouchaki (ATH)" userId="c1e7015d-7349-406b-b2d1-a943b5c1154d" providerId="ADAL" clId="{4244FCE3-063A-484F-97F9-07421ADE8F48}" dt="2024-11-19T12:50:57.024" v="1699" actId="478"/>
          <ac:grpSpMkLst>
            <pc:docMk/>
            <pc:sldMk cId="3616988078" sldId="2145707741"/>
            <ac:grpSpMk id="30" creationId="{37696162-6ABA-5736-B8E3-9E792F26F5DC}"/>
          </ac:grpSpMkLst>
        </pc:grpChg>
        <pc:grpChg chg="del mod topLvl">
          <ac:chgData name="Erika Xirouchaki (ATH)" userId="c1e7015d-7349-406b-b2d1-a943b5c1154d" providerId="ADAL" clId="{4244FCE3-063A-484F-97F9-07421ADE8F48}" dt="2024-11-19T12:51:07.777" v="1705" actId="478"/>
          <ac:grpSpMkLst>
            <pc:docMk/>
            <pc:sldMk cId="3616988078" sldId="2145707741"/>
            <ac:grpSpMk id="31" creationId="{BD57091A-9BC1-78FE-9E54-81663D635819}"/>
          </ac:grpSpMkLst>
        </pc:grpChg>
        <pc:grpChg chg="del">
          <ac:chgData name="Erika Xirouchaki (ATH)" userId="c1e7015d-7349-406b-b2d1-a943b5c1154d" providerId="ADAL" clId="{4244FCE3-063A-484F-97F9-07421ADE8F48}" dt="2024-11-19T12:50:55.092" v="1698" actId="165"/>
          <ac:grpSpMkLst>
            <pc:docMk/>
            <pc:sldMk cId="3616988078" sldId="2145707741"/>
            <ac:grpSpMk id="36" creationId="{618DE8A1-A5BD-D966-50E1-F27558330CC2}"/>
          </ac:grpSpMkLst>
        </pc:grpChg>
        <pc:grpChg chg="add del">
          <ac:chgData name="Erika Xirouchaki (ATH)" userId="c1e7015d-7349-406b-b2d1-a943b5c1154d" providerId="ADAL" clId="{4244FCE3-063A-484F-97F9-07421ADE8F48}" dt="2024-11-19T12:51:05.266" v="1704" actId="478"/>
          <ac:grpSpMkLst>
            <pc:docMk/>
            <pc:sldMk cId="3616988078" sldId="2145707741"/>
            <ac:grpSpMk id="42" creationId="{3B4DB9BA-54AB-8EB4-75ED-BAA062880183}"/>
          </ac:grpSpMkLst>
        </pc:grpChg>
        <pc:grpChg chg="add del">
          <ac:chgData name="Erika Xirouchaki (ATH)" userId="c1e7015d-7349-406b-b2d1-a943b5c1154d" providerId="ADAL" clId="{4244FCE3-063A-484F-97F9-07421ADE8F48}" dt="2024-11-19T12:51:01.552" v="1702" actId="478"/>
          <ac:grpSpMkLst>
            <pc:docMk/>
            <pc:sldMk cId="3616988078" sldId="2145707741"/>
            <ac:grpSpMk id="44" creationId="{6A4F2038-B146-A9A3-8800-222851930302}"/>
          </ac:grpSpMkLst>
        </pc:grpChg>
        <pc:picChg chg="mod">
          <ac:chgData name="Erika Xirouchaki (ATH)" userId="c1e7015d-7349-406b-b2d1-a943b5c1154d" providerId="ADAL" clId="{4244FCE3-063A-484F-97F9-07421ADE8F48}" dt="2024-11-19T12:50:55.092" v="1698" actId="165"/>
          <ac:picMkLst>
            <pc:docMk/>
            <pc:sldMk cId="3616988078" sldId="2145707741"/>
            <ac:picMk id="12" creationId="{060B21A4-C690-0704-8DED-6750ED6BE24F}"/>
          </ac:picMkLst>
        </pc:picChg>
        <pc:picChg chg="mod">
          <ac:chgData name="Erika Xirouchaki (ATH)" userId="c1e7015d-7349-406b-b2d1-a943b5c1154d" providerId="ADAL" clId="{4244FCE3-063A-484F-97F9-07421ADE8F48}" dt="2024-11-19T12:50:55.092" v="1698" actId="165"/>
          <ac:picMkLst>
            <pc:docMk/>
            <pc:sldMk cId="3616988078" sldId="2145707741"/>
            <ac:picMk id="13" creationId="{D95BD5CC-854C-86C0-AC28-4C5528807977}"/>
          </ac:picMkLst>
        </pc:picChg>
        <pc:picChg chg="mod">
          <ac:chgData name="Erika Xirouchaki (ATH)" userId="c1e7015d-7349-406b-b2d1-a943b5c1154d" providerId="ADAL" clId="{4244FCE3-063A-484F-97F9-07421ADE8F48}" dt="2024-11-19T12:50:55.092" v="1698" actId="165"/>
          <ac:picMkLst>
            <pc:docMk/>
            <pc:sldMk cId="3616988078" sldId="2145707741"/>
            <ac:picMk id="16" creationId="{A801A043-F1D7-D862-BAD6-D9FC2E13935A}"/>
          </ac:picMkLst>
        </pc:picChg>
        <pc:picChg chg="mod">
          <ac:chgData name="Erika Xirouchaki (ATH)" userId="c1e7015d-7349-406b-b2d1-a943b5c1154d" providerId="ADAL" clId="{4244FCE3-063A-484F-97F9-07421ADE8F48}" dt="2024-11-19T12:50:55.092" v="1698" actId="165"/>
          <ac:picMkLst>
            <pc:docMk/>
            <pc:sldMk cId="3616988078" sldId="2145707741"/>
            <ac:picMk id="18" creationId="{F2D3C5C0-136B-A234-BCEE-7758F42EC643}"/>
          </ac:picMkLst>
        </pc:picChg>
        <pc:picChg chg="mod">
          <ac:chgData name="Erika Xirouchaki (ATH)" userId="c1e7015d-7349-406b-b2d1-a943b5c1154d" providerId="ADAL" clId="{4244FCE3-063A-484F-97F9-07421ADE8F48}" dt="2024-11-19T12:50:55.092" v="1698" actId="165"/>
          <ac:picMkLst>
            <pc:docMk/>
            <pc:sldMk cId="3616988078" sldId="2145707741"/>
            <ac:picMk id="22" creationId="{EEA09242-8FB4-2440-B37D-BB41EF11D44F}"/>
          </ac:picMkLst>
        </pc:picChg>
        <pc:picChg chg="mod">
          <ac:chgData name="Erika Xirouchaki (ATH)" userId="c1e7015d-7349-406b-b2d1-a943b5c1154d" providerId="ADAL" clId="{4244FCE3-063A-484F-97F9-07421ADE8F48}" dt="2024-11-19T12:50:55.092" v="1698" actId="165"/>
          <ac:picMkLst>
            <pc:docMk/>
            <pc:sldMk cId="3616988078" sldId="2145707741"/>
            <ac:picMk id="23" creationId="{8C710591-6E36-C016-33B5-C25F050030AF}"/>
          </ac:picMkLst>
        </pc:picChg>
        <pc:picChg chg="mod">
          <ac:chgData name="Erika Xirouchaki (ATH)" userId="c1e7015d-7349-406b-b2d1-a943b5c1154d" providerId="ADAL" clId="{4244FCE3-063A-484F-97F9-07421ADE8F48}" dt="2024-11-19T12:50:55.092" v="1698" actId="165"/>
          <ac:picMkLst>
            <pc:docMk/>
            <pc:sldMk cId="3616988078" sldId="2145707741"/>
            <ac:picMk id="24" creationId="{66F18E5B-0D39-7CA5-4698-F01C3AACE714}"/>
          </ac:picMkLst>
        </pc:picChg>
        <pc:picChg chg="mod">
          <ac:chgData name="Erika Xirouchaki (ATH)" userId="c1e7015d-7349-406b-b2d1-a943b5c1154d" providerId="ADAL" clId="{4244FCE3-063A-484F-97F9-07421ADE8F48}" dt="2024-11-19T12:50:55.092" v="1698" actId="165"/>
          <ac:picMkLst>
            <pc:docMk/>
            <pc:sldMk cId="3616988078" sldId="2145707741"/>
            <ac:picMk id="25" creationId="{EEAA8922-E5B5-E456-6A2E-A2A3829DF2F6}"/>
          </ac:picMkLst>
        </pc:picChg>
        <pc:picChg chg="del topLvl">
          <ac:chgData name="Erika Xirouchaki (ATH)" userId="c1e7015d-7349-406b-b2d1-a943b5c1154d" providerId="ADAL" clId="{4244FCE3-063A-484F-97F9-07421ADE8F48}" dt="2024-11-19T12:51:01.552" v="1702" actId="478"/>
          <ac:picMkLst>
            <pc:docMk/>
            <pc:sldMk cId="3616988078" sldId="2145707741"/>
            <ac:picMk id="43" creationId="{2B992CF3-42C1-A754-0C61-33655FC5EFD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EEF330-1D1A-4DF9-B4A6-8B7F13C2F129}" type="doc">
      <dgm:prSet loTypeId="urn:microsoft.com/office/officeart/2005/8/layout/process1" loCatId="process" qsTypeId="urn:microsoft.com/office/officeart/2005/8/quickstyle/simple1" qsCatId="simple" csTypeId="urn:microsoft.com/office/officeart/2005/8/colors/accent6_4" csCatId="accent6" phldr="1"/>
      <dgm:spPr/>
      <dgm:t>
        <a:bodyPr/>
        <a:lstStyle/>
        <a:p>
          <a:endParaRPr lang="en-GB"/>
        </a:p>
      </dgm:t>
    </dgm:pt>
    <dgm:pt modelId="{2A868536-52CC-4C17-8CA5-F5288229B475}">
      <dgm:prSet/>
      <dgm:spPr/>
      <dgm:t>
        <a:bodyPr/>
        <a:lstStyle/>
        <a:p>
          <a:r>
            <a:rPr lang="en-GB" b="0" i="0" baseline="0"/>
            <a:t>Exploration</a:t>
          </a:r>
          <a:endParaRPr lang="en-GB"/>
        </a:p>
      </dgm:t>
    </dgm:pt>
    <dgm:pt modelId="{B6121133-FE81-4E98-BD5F-A5C3767161A9}" type="parTrans" cxnId="{2A3F327E-9640-44CF-B555-42F467AAA941}">
      <dgm:prSet/>
      <dgm:spPr/>
      <dgm:t>
        <a:bodyPr/>
        <a:lstStyle/>
        <a:p>
          <a:endParaRPr lang="en-GB"/>
        </a:p>
      </dgm:t>
    </dgm:pt>
    <dgm:pt modelId="{5E99B09C-B42B-4D31-B8DA-DB4EE86C5561}" type="sibTrans" cxnId="{2A3F327E-9640-44CF-B555-42F467AAA941}">
      <dgm:prSet/>
      <dgm:spPr/>
      <dgm:t>
        <a:bodyPr/>
        <a:lstStyle/>
        <a:p>
          <a:endParaRPr lang="en-GB"/>
        </a:p>
      </dgm:t>
    </dgm:pt>
    <dgm:pt modelId="{9E9612AE-C0C2-47FE-A972-CF3EA446C09D}">
      <dgm:prSet/>
      <dgm:spPr/>
      <dgm:t>
        <a:bodyPr/>
        <a:lstStyle/>
        <a:p>
          <a:r>
            <a:rPr lang="en-GB" b="0" i="0" baseline="0"/>
            <a:t>Development</a:t>
          </a:r>
          <a:endParaRPr lang="en-GB"/>
        </a:p>
      </dgm:t>
    </dgm:pt>
    <dgm:pt modelId="{178B0639-1853-4ECD-B3C6-B36D184C7B08}" type="parTrans" cxnId="{FF892586-F6E9-4662-A2E9-43FF83FA93D0}">
      <dgm:prSet/>
      <dgm:spPr/>
      <dgm:t>
        <a:bodyPr/>
        <a:lstStyle/>
        <a:p>
          <a:endParaRPr lang="en-GB"/>
        </a:p>
      </dgm:t>
    </dgm:pt>
    <dgm:pt modelId="{D7E059CD-4E55-4ABE-8A25-3D2EB35DAE80}" type="sibTrans" cxnId="{FF892586-F6E9-4662-A2E9-43FF83FA93D0}">
      <dgm:prSet/>
      <dgm:spPr/>
      <dgm:t>
        <a:bodyPr/>
        <a:lstStyle/>
        <a:p>
          <a:endParaRPr lang="en-GB"/>
        </a:p>
      </dgm:t>
    </dgm:pt>
    <dgm:pt modelId="{FE2937B9-0833-4DAA-B56B-12B083BCE636}">
      <dgm:prSet/>
      <dgm:spPr/>
      <dgm:t>
        <a:bodyPr/>
        <a:lstStyle/>
        <a:p>
          <a:r>
            <a:rPr lang="en-GB" b="0" i="0" baseline="0"/>
            <a:t>Construction</a:t>
          </a:r>
          <a:endParaRPr lang="en-GB"/>
        </a:p>
      </dgm:t>
    </dgm:pt>
    <dgm:pt modelId="{F6795D75-72C7-4CB4-99F9-5DD547B005EA}" type="parTrans" cxnId="{DDF6610E-4845-492A-8BCB-176A6EC2F2D4}">
      <dgm:prSet/>
      <dgm:spPr/>
      <dgm:t>
        <a:bodyPr/>
        <a:lstStyle/>
        <a:p>
          <a:endParaRPr lang="en-GB"/>
        </a:p>
      </dgm:t>
    </dgm:pt>
    <dgm:pt modelId="{E7A7F9E9-EC98-472E-99DF-8EEE48F73A25}" type="sibTrans" cxnId="{DDF6610E-4845-492A-8BCB-176A6EC2F2D4}">
      <dgm:prSet/>
      <dgm:spPr/>
      <dgm:t>
        <a:bodyPr/>
        <a:lstStyle/>
        <a:p>
          <a:endParaRPr lang="en-GB"/>
        </a:p>
      </dgm:t>
    </dgm:pt>
    <dgm:pt modelId="{F978E59C-607F-4ED3-9744-4E9F9E267441}">
      <dgm:prSet/>
      <dgm:spPr/>
      <dgm:t>
        <a:bodyPr/>
        <a:lstStyle/>
        <a:p>
          <a:r>
            <a:rPr lang="en-GB" b="0" i="0" baseline="0"/>
            <a:t>Operation</a:t>
          </a:r>
          <a:endParaRPr lang="en-GB"/>
        </a:p>
      </dgm:t>
    </dgm:pt>
    <dgm:pt modelId="{968A21C0-B0BF-4B68-B6E0-AA332C687627}" type="parTrans" cxnId="{4CA349D9-1C3F-46C7-967E-B2C785861AB5}">
      <dgm:prSet/>
      <dgm:spPr/>
      <dgm:t>
        <a:bodyPr/>
        <a:lstStyle/>
        <a:p>
          <a:endParaRPr lang="en-GB"/>
        </a:p>
      </dgm:t>
    </dgm:pt>
    <dgm:pt modelId="{1CC0C646-FB9B-482A-817C-56EE7201C7AC}" type="sibTrans" cxnId="{4CA349D9-1C3F-46C7-967E-B2C785861AB5}">
      <dgm:prSet/>
      <dgm:spPr/>
      <dgm:t>
        <a:bodyPr/>
        <a:lstStyle/>
        <a:p>
          <a:endParaRPr lang="en-GB"/>
        </a:p>
      </dgm:t>
    </dgm:pt>
    <dgm:pt modelId="{545E77A1-FEA4-44F3-98A7-90E5A2ACF68D}">
      <dgm:prSet/>
      <dgm:spPr/>
      <dgm:t>
        <a:bodyPr/>
        <a:lstStyle/>
        <a:p>
          <a:r>
            <a:rPr lang="en-GB" b="0" i="0" baseline="0"/>
            <a:t>Closure and Post-Closure</a:t>
          </a:r>
          <a:endParaRPr lang="en-GB"/>
        </a:p>
      </dgm:t>
    </dgm:pt>
    <dgm:pt modelId="{B778F0DC-83CD-41BC-AEA1-2EF60D84A05E}" type="parTrans" cxnId="{5170AEA6-AB73-4F4B-84D7-25F49F0773E6}">
      <dgm:prSet/>
      <dgm:spPr/>
      <dgm:t>
        <a:bodyPr/>
        <a:lstStyle/>
        <a:p>
          <a:endParaRPr lang="en-GB"/>
        </a:p>
      </dgm:t>
    </dgm:pt>
    <dgm:pt modelId="{6BCF4EBC-13A5-4296-A2B1-E184573E7792}" type="sibTrans" cxnId="{5170AEA6-AB73-4F4B-84D7-25F49F0773E6}">
      <dgm:prSet/>
      <dgm:spPr/>
      <dgm:t>
        <a:bodyPr/>
        <a:lstStyle/>
        <a:p>
          <a:endParaRPr lang="en-GB"/>
        </a:p>
      </dgm:t>
    </dgm:pt>
    <dgm:pt modelId="{725314F8-1AC3-46DC-9297-6FAFCF00B8D3}" type="pres">
      <dgm:prSet presAssocID="{BAEEF330-1D1A-4DF9-B4A6-8B7F13C2F129}" presName="Name0" presStyleCnt="0">
        <dgm:presLayoutVars>
          <dgm:dir/>
          <dgm:resizeHandles val="exact"/>
        </dgm:presLayoutVars>
      </dgm:prSet>
      <dgm:spPr/>
    </dgm:pt>
    <dgm:pt modelId="{359A220D-F429-417D-962A-25C10B774774}" type="pres">
      <dgm:prSet presAssocID="{2A868536-52CC-4C17-8CA5-F5288229B475}" presName="node" presStyleLbl="node1" presStyleIdx="0" presStyleCnt="5" custLinFactNeighborX="-4973" custLinFactNeighborY="-70412">
        <dgm:presLayoutVars>
          <dgm:bulletEnabled val="1"/>
        </dgm:presLayoutVars>
      </dgm:prSet>
      <dgm:spPr/>
    </dgm:pt>
    <dgm:pt modelId="{500D4C60-D7AE-4713-8B39-855032D3555D}" type="pres">
      <dgm:prSet presAssocID="{5E99B09C-B42B-4D31-B8DA-DB4EE86C5561}" presName="sibTrans" presStyleLbl="sibTrans2D1" presStyleIdx="0" presStyleCnt="4"/>
      <dgm:spPr/>
    </dgm:pt>
    <dgm:pt modelId="{542A8D5E-6EED-4822-B88B-B8BFB3C4490F}" type="pres">
      <dgm:prSet presAssocID="{5E99B09C-B42B-4D31-B8DA-DB4EE86C5561}" presName="connectorText" presStyleLbl="sibTrans2D1" presStyleIdx="0" presStyleCnt="4"/>
      <dgm:spPr/>
    </dgm:pt>
    <dgm:pt modelId="{6A983141-67DE-4C5D-99F7-77C114705A63}" type="pres">
      <dgm:prSet presAssocID="{9E9612AE-C0C2-47FE-A972-CF3EA446C09D}" presName="node" presStyleLbl="node1" presStyleIdx="1" presStyleCnt="5" custLinFactNeighborX="-9138" custLinFactNeighborY="-70412">
        <dgm:presLayoutVars>
          <dgm:bulletEnabled val="1"/>
        </dgm:presLayoutVars>
      </dgm:prSet>
      <dgm:spPr/>
    </dgm:pt>
    <dgm:pt modelId="{FB45AD4D-9A1F-4CE2-852F-80480C500D96}" type="pres">
      <dgm:prSet presAssocID="{D7E059CD-4E55-4ABE-8A25-3D2EB35DAE80}" presName="sibTrans" presStyleLbl="sibTrans2D1" presStyleIdx="1" presStyleCnt="4"/>
      <dgm:spPr/>
    </dgm:pt>
    <dgm:pt modelId="{D39FDAF8-77F3-43B2-9C85-583E2CA109B1}" type="pres">
      <dgm:prSet presAssocID="{D7E059CD-4E55-4ABE-8A25-3D2EB35DAE80}" presName="connectorText" presStyleLbl="sibTrans2D1" presStyleIdx="1" presStyleCnt="4"/>
      <dgm:spPr/>
    </dgm:pt>
    <dgm:pt modelId="{0D7E32D1-43C6-4816-8417-C39C9DA2DF20}" type="pres">
      <dgm:prSet presAssocID="{FE2937B9-0833-4DAA-B56B-12B083BCE636}" presName="node" presStyleLbl="node1" presStyleIdx="2" presStyleCnt="5" custLinFactNeighborX="-9138" custLinFactNeighborY="-70412">
        <dgm:presLayoutVars>
          <dgm:bulletEnabled val="1"/>
        </dgm:presLayoutVars>
      </dgm:prSet>
      <dgm:spPr/>
    </dgm:pt>
    <dgm:pt modelId="{7B18D7FD-BE1E-4D85-942A-5D77859A13DF}" type="pres">
      <dgm:prSet presAssocID="{E7A7F9E9-EC98-472E-99DF-8EEE48F73A25}" presName="sibTrans" presStyleLbl="sibTrans2D1" presStyleIdx="2" presStyleCnt="4"/>
      <dgm:spPr/>
    </dgm:pt>
    <dgm:pt modelId="{156F2CCC-6FE7-488E-8CCD-D2F1076C5396}" type="pres">
      <dgm:prSet presAssocID="{E7A7F9E9-EC98-472E-99DF-8EEE48F73A25}" presName="connectorText" presStyleLbl="sibTrans2D1" presStyleIdx="2" presStyleCnt="4"/>
      <dgm:spPr/>
    </dgm:pt>
    <dgm:pt modelId="{4FCB69BE-BAB2-4C41-876A-556B91BA7253}" type="pres">
      <dgm:prSet presAssocID="{F978E59C-607F-4ED3-9744-4E9F9E267441}" presName="node" presStyleLbl="node1" presStyleIdx="3" presStyleCnt="5" custLinFactNeighborX="-9138" custLinFactNeighborY="-70412">
        <dgm:presLayoutVars>
          <dgm:bulletEnabled val="1"/>
        </dgm:presLayoutVars>
      </dgm:prSet>
      <dgm:spPr/>
    </dgm:pt>
    <dgm:pt modelId="{02146689-F5A3-48B5-BDA2-1A1C76CB4580}" type="pres">
      <dgm:prSet presAssocID="{1CC0C646-FB9B-482A-817C-56EE7201C7AC}" presName="sibTrans" presStyleLbl="sibTrans2D1" presStyleIdx="3" presStyleCnt="4"/>
      <dgm:spPr/>
    </dgm:pt>
    <dgm:pt modelId="{3CC5C965-21B4-4028-AFDC-3978E79EEA7E}" type="pres">
      <dgm:prSet presAssocID="{1CC0C646-FB9B-482A-817C-56EE7201C7AC}" presName="connectorText" presStyleLbl="sibTrans2D1" presStyleIdx="3" presStyleCnt="4"/>
      <dgm:spPr/>
    </dgm:pt>
    <dgm:pt modelId="{DAD08E36-B904-4BDB-96AA-10BD434398E7}" type="pres">
      <dgm:prSet presAssocID="{545E77A1-FEA4-44F3-98A7-90E5A2ACF68D}" presName="node" presStyleLbl="node1" presStyleIdx="4" presStyleCnt="5" custLinFactNeighborX="-9138" custLinFactNeighborY="-70412">
        <dgm:presLayoutVars>
          <dgm:bulletEnabled val="1"/>
        </dgm:presLayoutVars>
      </dgm:prSet>
      <dgm:spPr/>
    </dgm:pt>
  </dgm:ptLst>
  <dgm:cxnLst>
    <dgm:cxn modelId="{DDF6610E-4845-492A-8BCB-176A6EC2F2D4}" srcId="{BAEEF330-1D1A-4DF9-B4A6-8B7F13C2F129}" destId="{FE2937B9-0833-4DAA-B56B-12B083BCE636}" srcOrd="2" destOrd="0" parTransId="{F6795D75-72C7-4CB4-99F9-5DD547B005EA}" sibTransId="{E7A7F9E9-EC98-472E-99DF-8EEE48F73A25}"/>
    <dgm:cxn modelId="{8CFD932E-2729-40DA-BBD4-E82D66114771}" type="presOf" srcId="{5E99B09C-B42B-4D31-B8DA-DB4EE86C5561}" destId="{542A8D5E-6EED-4822-B88B-B8BFB3C4490F}" srcOrd="1" destOrd="0" presId="urn:microsoft.com/office/officeart/2005/8/layout/process1"/>
    <dgm:cxn modelId="{F22A573C-2CE2-482F-9661-248C728EE7A9}" type="presOf" srcId="{5E99B09C-B42B-4D31-B8DA-DB4EE86C5561}" destId="{500D4C60-D7AE-4713-8B39-855032D3555D}" srcOrd="0" destOrd="0" presId="urn:microsoft.com/office/officeart/2005/8/layout/process1"/>
    <dgm:cxn modelId="{372C565D-D3BE-4E01-9908-0BD69FD9344D}" type="presOf" srcId="{D7E059CD-4E55-4ABE-8A25-3D2EB35DAE80}" destId="{D39FDAF8-77F3-43B2-9C85-583E2CA109B1}" srcOrd="1" destOrd="0" presId="urn:microsoft.com/office/officeart/2005/8/layout/process1"/>
    <dgm:cxn modelId="{1C69BE46-C314-4438-93D8-314442D2BA61}" type="presOf" srcId="{BAEEF330-1D1A-4DF9-B4A6-8B7F13C2F129}" destId="{725314F8-1AC3-46DC-9297-6FAFCF00B8D3}" srcOrd="0" destOrd="0" presId="urn:microsoft.com/office/officeart/2005/8/layout/process1"/>
    <dgm:cxn modelId="{B7D4A94C-C7C4-4B3E-A626-27A157EE89E9}" type="presOf" srcId="{FE2937B9-0833-4DAA-B56B-12B083BCE636}" destId="{0D7E32D1-43C6-4816-8417-C39C9DA2DF20}" srcOrd="0" destOrd="0" presId="urn:microsoft.com/office/officeart/2005/8/layout/process1"/>
    <dgm:cxn modelId="{452F1C4D-AF9D-480F-90CF-6AAB3B68FB76}" type="presOf" srcId="{1CC0C646-FB9B-482A-817C-56EE7201C7AC}" destId="{02146689-F5A3-48B5-BDA2-1A1C76CB4580}" srcOrd="0" destOrd="0" presId="urn:microsoft.com/office/officeart/2005/8/layout/process1"/>
    <dgm:cxn modelId="{84BF3C72-55A4-4E17-863C-97099FF2EF85}" type="presOf" srcId="{545E77A1-FEA4-44F3-98A7-90E5A2ACF68D}" destId="{DAD08E36-B904-4BDB-96AA-10BD434398E7}" srcOrd="0" destOrd="0" presId="urn:microsoft.com/office/officeart/2005/8/layout/process1"/>
    <dgm:cxn modelId="{C3416F79-68ED-4E62-8FEE-A447807E4474}" type="presOf" srcId="{1CC0C646-FB9B-482A-817C-56EE7201C7AC}" destId="{3CC5C965-21B4-4028-AFDC-3978E79EEA7E}" srcOrd="1" destOrd="0" presId="urn:microsoft.com/office/officeart/2005/8/layout/process1"/>
    <dgm:cxn modelId="{2A3F327E-9640-44CF-B555-42F467AAA941}" srcId="{BAEEF330-1D1A-4DF9-B4A6-8B7F13C2F129}" destId="{2A868536-52CC-4C17-8CA5-F5288229B475}" srcOrd="0" destOrd="0" parTransId="{B6121133-FE81-4E98-BD5F-A5C3767161A9}" sibTransId="{5E99B09C-B42B-4D31-B8DA-DB4EE86C5561}"/>
    <dgm:cxn modelId="{FF892586-F6E9-4662-A2E9-43FF83FA93D0}" srcId="{BAEEF330-1D1A-4DF9-B4A6-8B7F13C2F129}" destId="{9E9612AE-C0C2-47FE-A972-CF3EA446C09D}" srcOrd="1" destOrd="0" parTransId="{178B0639-1853-4ECD-B3C6-B36D184C7B08}" sibTransId="{D7E059CD-4E55-4ABE-8A25-3D2EB35DAE80}"/>
    <dgm:cxn modelId="{12BC3D8A-BBFE-4B2F-9531-D464587B0566}" type="presOf" srcId="{2A868536-52CC-4C17-8CA5-F5288229B475}" destId="{359A220D-F429-417D-962A-25C10B774774}" srcOrd="0" destOrd="0" presId="urn:microsoft.com/office/officeart/2005/8/layout/process1"/>
    <dgm:cxn modelId="{C3651E9A-6CA5-4160-9FA0-550C3A917211}" type="presOf" srcId="{D7E059CD-4E55-4ABE-8A25-3D2EB35DAE80}" destId="{FB45AD4D-9A1F-4CE2-852F-80480C500D96}" srcOrd="0" destOrd="0" presId="urn:microsoft.com/office/officeart/2005/8/layout/process1"/>
    <dgm:cxn modelId="{6C4B379B-036B-476F-A09A-8197493BDD6F}" type="presOf" srcId="{E7A7F9E9-EC98-472E-99DF-8EEE48F73A25}" destId="{156F2CCC-6FE7-488E-8CCD-D2F1076C5396}" srcOrd="1" destOrd="0" presId="urn:microsoft.com/office/officeart/2005/8/layout/process1"/>
    <dgm:cxn modelId="{BDAB939D-9980-41FA-8C1F-4E77A4591807}" type="presOf" srcId="{9E9612AE-C0C2-47FE-A972-CF3EA446C09D}" destId="{6A983141-67DE-4C5D-99F7-77C114705A63}" srcOrd="0" destOrd="0" presId="urn:microsoft.com/office/officeart/2005/8/layout/process1"/>
    <dgm:cxn modelId="{5170AEA6-AB73-4F4B-84D7-25F49F0773E6}" srcId="{BAEEF330-1D1A-4DF9-B4A6-8B7F13C2F129}" destId="{545E77A1-FEA4-44F3-98A7-90E5A2ACF68D}" srcOrd="4" destOrd="0" parTransId="{B778F0DC-83CD-41BC-AEA1-2EF60D84A05E}" sibTransId="{6BCF4EBC-13A5-4296-A2B1-E184573E7792}"/>
    <dgm:cxn modelId="{2A0030AA-514A-4656-9271-58CB44322672}" type="presOf" srcId="{E7A7F9E9-EC98-472E-99DF-8EEE48F73A25}" destId="{7B18D7FD-BE1E-4D85-942A-5D77859A13DF}" srcOrd="0" destOrd="0" presId="urn:microsoft.com/office/officeart/2005/8/layout/process1"/>
    <dgm:cxn modelId="{4CA349D9-1C3F-46C7-967E-B2C785861AB5}" srcId="{BAEEF330-1D1A-4DF9-B4A6-8B7F13C2F129}" destId="{F978E59C-607F-4ED3-9744-4E9F9E267441}" srcOrd="3" destOrd="0" parTransId="{968A21C0-B0BF-4B68-B6E0-AA332C687627}" sibTransId="{1CC0C646-FB9B-482A-817C-56EE7201C7AC}"/>
    <dgm:cxn modelId="{E56103DD-C377-45DF-AD47-971DB2D0DC0D}" type="presOf" srcId="{F978E59C-607F-4ED3-9744-4E9F9E267441}" destId="{4FCB69BE-BAB2-4C41-876A-556B91BA7253}" srcOrd="0" destOrd="0" presId="urn:microsoft.com/office/officeart/2005/8/layout/process1"/>
    <dgm:cxn modelId="{14CEFC6C-D0C1-43F3-B3DC-F47D490D37FA}" type="presParOf" srcId="{725314F8-1AC3-46DC-9297-6FAFCF00B8D3}" destId="{359A220D-F429-417D-962A-25C10B774774}" srcOrd="0" destOrd="0" presId="urn:microsoft.com/office/officeart/2005/8/layout/process1"/>
    <dgm:cxn modelId="{D0FCE9FB-5861-4746-83D7-50A93A3BDF75}" type="presParOf" srcId="{725314F8-1AC3-46DC-9297-6FAFCF00B8D3}" destId="{500D4C60-D7AE-4713-8B39-855032D3555D}" srcOrd="1" destOrd="0" presId="urn:microsoft.com/office/officeart/2005/8/layout/process1"/>
    <dgm:cxn modelId="{1C617AA4-E916-4F60-9850-05CCEEAB1D6E}" type="presParOf" srcId="{500D4C60-D7AE-4713-8B39-855032D3555D}" destId="{542A8D5E-6EED-4822-B88B-B8BFB3C4490F}" srcOrd="0" destOrd="0" presId="urn:microsoft.com/office/officeart/2005/8/layout/process1"/>
    <dgm:cxn modelId="{1F093FBE-2964-4E23-9C77-925A43B78299}" type="presParOf" srcId="{725314F8-1AC3-46DC-9297-6FAFCF00B8D3}" destId="{6A983141-67DE-4C5D-99F7-77C114705A63}" srcOrd="2" destOrd="0" presId="urn:microsoft.com/office/officeart/2005/8/layout/process1"/>
    <dgm:cxn modelId="{D52DD41E-F27F-41B6-A9D3-B5A0D4408C4A}" type="presParOf" srcId="{725314F8-1AC3-46DC-9297-6FAFCF00B8D3}" destId="{FB45AD4D-9A1F-4CE2-852F-80480C500D96}" srcOrd="3" destOrd="0" presId="urn:microsoft.com/office/officeart/2005/8/layout/process1"/>
    <dgm:cxn modelId="{30E3639C-9547-418F-93C6-DF8DEAACCEC1}" type="presParOf" srcId="{FB45AD4D-9A1F-4CE2-852F-80480C500D96}" destId="{D39FDAF8-77F3-43B2-9C85-583E2CA109B1}" srcOrd="0" destOrd="0" presId="urn:microsoft.com/office/officeart/2005/8/layout/process1"/>
    <dgm:cxn modelId="{8A037DAA-A8CC-4461-98E6-152705443395}" type="presParOf" srcId="{725314F8-1AC3-46DC-9297-6FAFCF00B8D3}" destId="{0D7E32D1-43C6-4816-8417-C39C9DA2DF20}" srcOrd="4" destOrd="0" presId="urn:microsoft.com/office/officeart/2005/8/layout/process1"/>
    <dgm:cxn modelId="{19C4E334-5577-4521-8222-AEBD20CEB3CF}" type="presParOf" srcId="{725314F8-1AC3-46DC-9297-6FAFCF00B8D3}" destId="{7B18D7FD-BE1E-4D85-942A-5D77859A13DF}" srcOrd="5" destOrd="0" presId="urn:microsoft.com/office/officeart/2005/8/layout/process1"/>
    <dgm:cxn modelId="{BC04CFBD-D41A-423A-8048-B3E1603A803D}" type="presParOf" srcId="{7B18D7FD-BE1E-4D85-942A-5D77859A13DF}" destId="{156F2CCC-6FE7-488E-8CCD-D2F1076C5396}" srcOrd="0" destOrd="0" presId="urn:microsoft.com/office/officeart/2005/8/layout/process1"/>
    <dgm:cxn modelId="{27C9B189-DD71-4AC7-B33D-586814ECDA26}" type="presParOf" srcId="{725314F8-1AC3-46DC-9297-6FAFCF00B8D3}" destId="{4FCB69BE-BAB2-4C41-876A-556B91BA7253}" srcOrd="6" destOrd="0" presId="urn:microsoft.com/office/officeart/2005/8/layout/process1"/>
    <dgm:cxn modelId="{3193CF42-4AA3-46AB-A0DD-435CE22155EB}" type="presParOf" srcId="{725314F8-1AC3-46DC-9297-6FAFCF00B8D3}" destId="{02146689-F5A3-48B5-BDA2-1A1C76CB4580}" srcOrd="7" destOrd="0" presId="urn:microsoft.com/office/officeart/2005/8/layout/process1"/>
    <dgm:cxn modelId="{D764A5AA-0DCF-461D-9D51-93FB3304A060}" type="presParOf" srcId="{02146689-F5A3-48B5-BDA2-1A1C76CB4580}" destId="{3CC5C965-21B4-4028-AFDC-3978E79EEA7E}" srcOrd="0" destOrd="0" presId="urn:microsoft.com/office/officeart/2005/8/layout/process1"/>
    <dgm:cxn modelId="{64577548-5DD1-4E17-AD8F-588F4E846D56}" type="presParOf" srcId="{725314F8-1AC3-46DC-9297-6FAFCF00B8D3}" destId="{DAD08E36-B904-4BDB-96AA-10BD434398E7}"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DD6948-BFA1-42E1-A2E0-CA3BB9CCFFB1}" type="doc">
      <dgm:prSet loTypeId="urn:microsoft.com/office/officeart/2005/8/layout/cycle2" loCatId="cycle" qsTypeId="urn:microsoft.com/office/officeart/2005/8/quickstyle/simple1" qsCatId="simple" csTypeId="urn:microsoft.com/office/officeart/2005/8/colors/colorful4" csCatId="colorful"/>
      <dgm:spPr/>
      <dgm:t>
        <a:bodyPr/>
        <a:lstStyle/>
        <a:p>
          <a:endParaRPr lang="en-GB"/>
        </a:p>
      </dgm:t>
    </dgm:pt>
    <dgm:pt modelId="{FA1028DE-7CD3-4D5F-B2E9-60A9C91B514C}">
      <dgm:prSet/>
      <dgm:spPr/>
      <dgm:t>
        <a:bodyPr/>
        <a:lstStyle/>
        <a:p>
          <a:r>
            <a:rPr lang="en-GB" b="0" i="0" baseline="0"/>
            <a:t>Training Programs and Skill Building</a:t>
          </a:r>
          <a:endParaRPr lang="en-GB"/>
        </a:p>
      </dgm:t>
    </dgm:pt>
    <dgm:pt modelId="{FFBC5158-E9C5-4B4D-A02F-3C43AB7503D3}" type="parTrans" cxnId="{D434BE10-E00F-4C8B-BEDD-493889F2DCED}">
      <dgm:prSet/>
      <dgm:spPr/>
      <dgm:t>
        <a:bodyPr/>
        <a:lstStyle/>
        <a:p>
          <a:endParaRPr lang="en-GB"/>
        </a:p>
      </dgm:t>
    </dgm:pt>
    <dgm:pt modelId="{F3FDEE61-5FF2-4537-A8AA-0ED568B7A8A8}" type="sibTrans" cxnId="{D434BE10-E00F-4C8B-BEDD-493889F2DCED}">
      <dgm:prSet/>
      <dgm:spPr/>
      <dgm:t>
        <a:bodyPr/>
        <a:lstStyle/>
        <a:p>
          <a:endParaRPr lang="en-GB"/>
        </a:p>
      </dgm:t>
    </dgm:pt>
    <dgm:pt modelId="{0A25E594-FC60-4C4E-85F9-6945499E760E}">
      <dgm:prSet/>
      <dgm:spPr/>
      <dgm:t>
        <a:bodyPr/>
        <a:lstStyle/>
        <a:p>
          <a:r>
            <a:rPr lang="en-GB" b="0" i="0" baseline="0"/>
            <a:t>Long-term Economic Benefits</a:t>
          </a:r>
          <a:endParaRPr lang="en-GB"/>
        </a:p>
      </dgm:t>
    </dgm:pt>
    <dgm:pt modelId="{86235FBF-0219-4FD0-9B16-65B7415E166C}" type="parTrans" cxnId="{1EAD0362-5ABF-403D-998A-53DAB98B1E04}">
      <dgm:prSet/>
      <dgm:spPr/>
      <dgm:t>
        <a:bodyPr/>
        <a:lstStyle/>
        <a:p>
          <a:endParaRPr lang="en-GB"/>
        </a:p>
      </dgm:t>
    </dgm:pt>
    <dgm:pt modelId="{FB9B85AE-3216-4DE1-AC09-CC0B37A9DEEB}" type="sibTrans" cxnId="{1EAD0362-5ABF-403D-998A-53DAB98B1E04}">
      <dgm:prSet/>
      <dgm:spPr/>
      <dgm:t>
        <a:bodyPr/>
        <a:lstStyle/>
        <a:p>
          <a:endParaRPr lang="en-GB"/>
        </a:p>
      </dgm:t>
    </dgm:pt>
    <dgm:pt modelId="{DBC3D2E1-A95D-4C9C-B268-FA94F1513B8F}">
      <dgm:prSet/>
      <dgm:spPr/>
      <dgm:t>
        <a:bodyPr/>
        <a:lstStyle/>
        <a:p>
          <a:r>
            <a:rPr lang="en-GB" b="0" i="0" baseline="0"/>
            <a:t>Community Training Centre</a:t>
          </a:r>
          <a:endParaRPr lang="en-GB"/>
        </a:p>
      </dgm:t>
    </dgm:pt>
    <dgm:pt modelId="{2020E40D-6FAE-4EC2-9E12-2A52C423BEC5}" type="parTrans" cxnId="{DD552B01-223F-435E-A3A9-31FF34F075DC}">
      <dgm:prSet/>
      <dgm:spPr/>
      <dgm:t>
        <a:bodyPr/>
        <a:lstStyle/>
        <a:p>
          <a:endParaRPr lang="en-GB"/>
        </a:p>
      </dgm:t>
    </dgm:pt>
    <dgm:pt modelId="{317A2CA3-7744-423C-97D0-39DB4D77ADA8}" type="sibTrans" cxnId="{DD552B01-223F-435E-A3A9-31FF34F075DC}">
      <dgm:prSet/>
      <dgm:spPr/>
      <dgm:t>
        <a:bodyPr/>
        <a:lstStyle/>
        <a:p>
          <a:endParaRPr lang="en-GB"/>
        </a:p>
      </dgm:t>
    </dgm:pt>
    <dgm:pt modelId="{CE514B4E-1AED-42ED-9B88-FE7B25F12EEB}">
      <dgm:prSet/>
      <dgm:spPr/>
      <dgm:t>
        <a:bodyPr/>
        <a:lstStyle/>
        <a:p>
          <a:r>
            <a:rPr lang="en-GB" b="0" i="0" baseline="0"/>
            <a:t>Adapting to evolving needs</a:t>
          </a:r>
          <a:endParaRPr lang="en-GB"/>
        </a:p>
      </dgm:t>
    </dgm:pt>
    <dgm:pt modelId="{7B317B25-30C7-4DFE-919D-A61C8161D39D}" type="parTrans" cxnId="{424D20FF-2AFA-4574-881A-A3598DA80320}">
      <dgm:prSet/>
      <dgm:spPr/>
      <dgm:t>
        <a:bodyPr/>
        <a:lstStyle/>
        <a:p>
          <a:endParaRPr lang="en-GB"/>
        </a:p>
      </dgm:t>
    </dgm:pt>
    <dgm:pt modelId="{96D9DCC5-9A8E-4977-A36F-A0C5F2A34BA2}" type="sibTrans" cxnId="{424D20FF-2AFA-4574-881A-A3598DA80320}">
      <dgm:prSet/>
      <dgm:spPr/>
      <dgm:t>
        <a:bodyPr/>
        <a:lstStyle/>
        <a:p>
          <a:endParaRPr lang="en-GB"/>
        </a:p>
      </dgm:t>
    </dgm:pt>
    <dgm:pt modelId="{15BFF1D0-A8E0-4045-AD3F-09ED9DAAB70D}" type="pres">
      <dgm:prSet presAssocID="{5EDD6948-BFA1-42E1-A2E0-CA3BB9CCFFB1}" presName="cycle" presStyleCnt="0">
        <dgm:presLayoutVars>
          <dgm:dir/>
          <dgm:resizeHandles val="exact"/>
        </dgm:presLayoutVars>
      </dgm:prSet>
      <dgm:spPr/>
    </dgm:pt>
    <dgm:pt modelId="{A38F0727-288A-426A-9DF1-FC7B27DE9C58}" type="pres">
      <dgm:prSet presAssocID="{FA1028DE-7CD3-4D5F-B2E9-60A9C91B514C}" presName="node" presStyleLbl="node1" presStyleIdx="0" presStyleCnt="4">
        <dgm:presLayoutVars>
          <dgm:bulletEnabled val="1"/>
        </dgm:presLayoutVars>
      </dgm:prSet>
      <dgm:spPr/>
    </dgm:pt>
    <dgm:pt modelId="{6E7A4871-32AF-44E8-8936-FF58FD0A0E74}" type="pres">
      <dgm:prSet presAssocID="{F3FDEE61-5FF2-4537-A8AA-0ED568B7A8A8}" presName="sibTrans" presStyleLbl="sibTrans2D1" presStyleIdx="0" presStyleCnt="4"/>
      <dgm:spPr/>
    </dgm:pt>
    <dgm:pt modelId="{840839DE-5021-4782-846F-6795E1B29F53}" type="pres">
      <dgm:prSet presAssocID="{F3FDEE61-5FF2-4537-A8AA-0ED568B7A8A8}" presName="connectorText" presStyleLbl="sibTrans2D1" presStyleIdx="0" presStyleCnt="4"/>
      <dgm:spPr/>
    </dgm:pt>
    <dgm:pt modelId="{A484D885-0AB3-4043-BF17-6BA6741081C2}" type="pres">
      <dgm:prSet presAssocID="{0A25E594-FC60-4C4E-85F9-6945499E760E}" presName="node" presStyleLbl="node1" presStyleIdx="1" presStyleCnt="4">
        <dgm:presLayoutVars>
          <dgm:bulletEnabled val="1"/>
        </dgm:presLayoutVars>
      </dgm:prSet>
      <dgm:spPr/>
    </dgm:pt>
    <dgm:pt modelId="{E86CF2C0-117C-48FD-9F8F-8B438DF0FAD8}" type="pres">
      <dgm:prSet presAssocID="{FB9B85AE-3216-4DE1-AC09-CC0B37A9DEEB}" presName="sibTrans" presStyleLbl="sibTrans2D1" presStyleIdx="1" presStyleCnt="4"/>
      <dgm:spPr/>
    </dgm:pt>
    <dgm:pt modelId="{450DB06F-1BAD-4F85-BD92-0ACD58B189E1}" type="pres">
      <dgm:prSet presAssocID="{FB9B85AE-3216-4DE1-AC09-CC0B37A9DEEB}" presName="connectorText" presStyleLbl="sibTrans2D1" presStyleIdx="1" presStyleCnt="4"/>
      <dgm:spPr/>
    </dgm:pt>
    <dgm:pt modelId="{6B24F708-5415-4847-9D73-90E1EBE9AD30}" type="pres">
      <dgm:prSet presAssocID="{DBC3D2E1-A95D-4C9C-B268-FA94F1513B8F}" presName="node" presStyleLbl="node1" presStyleIdx="2" presStyleCnt="4">
        <dgm:presLayoutVars>
          <dgm:bulletEnabled val="1"/>
        </dgm:presLayoutVars>
      </dgm:prSet>
      <dgm:spPr/>
    </dgm:pt>
    <dgm:pt modelId="{8E96244B-7DBA-4C73-AC59-56F38BF9D904}" type="pres">
      <dgm:prSet presAssocID="{317A2CA3-7744-423C-97D0-39DB4D77ADA8}" presName="sibTrans" presStyleLbl="sibTrans2D1" presStyleIdx="2" presStyleCnt="4"/>
      <dgm:spPr/>
    </dgm:pt>
    <dgm:pt modelId="{3B963495-C7F9-41F5-A2C7-FA748EE7B7AA}" type="pres">
      <dgm:prSet presAssocID="{317A2CA3-7744-423C-97D0-39DB4D77ADA8}" presName="connectorText" presStyleLbl="sibTrans2D1" presStyleIdx="2" presStyleCnt="4"/>
      <dgm:spPr/>
    </dgm:pt>
    <dgm:pt modelId="{BC9266D7-85B9-4C63-8634-FA60E8E8BE9B}" type="pres">
      <dgm:prSet presAssocID="{CE514B4E-1AED-42ED-9B88-FE7B25F12EEB}" presName="node" presStyleLbl="node1" presStyleIdx="3" presStyleCnt="4">
        <dgm:presLayoutVars>
          <dgm:bulletEnabled val="1"/>
        </dgm:presLayoutVars>
      </dgm:prSet>
      <dgm:spPr/>
    </dgm:pt>
    <dgm:pt modelId="{A87A1452-1F94-46AF-B7A0-B5A731AA4565}" type="pres">
      <dgm:prSet presAssocID="{96D9DCC5-9A8E-4977-A36F-A0C5F2A34BA2}" presName="sibTrans" presStyleLbl="sibTrans2D1" presStyleIdx="3" presStyleCnt="4"/>
      <dgm:spPr/>
    </dgm:pt>
    <dgm:pt modelId="{3BF6FA2D-4079-4184-8499-D79286F5AF96}" type="pres">
      <dgm:prSet presAssocID="{96D9DCC5-9A8E-4977-A36F-A0C5F2A34BA2}" presName="connectorText" presStyleLbl="sibTrans2D1" presStyleIdx="3" presStyleCnt="4"/>
      <dgm:spPr/>
    </dgm:pt>
  </dgm:ptLst>
  <dgm:cxnLst>
    <dgm:cxn modelId="{DD552B01-223F-435E-A3A9-31FF34F075DC}" srcId="{5EDD6948-BFA1-42E1-A2E0-CA3BB9CCFFB1}" destId="{DBC3D2E1-A95D-4C9C-B268-FA94F1513B8F}" srcOrd="2" destOrd="0" parTransId="{2020E40D-6FAE-4EC2-9E12-2A52C423BEC5}" sibTransId="{317A2CA3-7744-423C-97D0-39DB4D77ADA8}"/>
    <dgm:cxn modelId="{24F4820F-6790-40FA-AE87-4DF8831419FE}" type="presOf" srcId="{F3FDEE61-5FF2-4537-A8AA-0ED568B7A8A8}" destId="{6E7A4871-32AF-44E8-8936-FF58FD0A0E74}" srcOrd="0" destOrd="0" presId="urn:microsoft.com/office/officeart/2005/8/layout/cycle2"/>
    <dgm:cxn modelId="{D434BE10-E00F-4C8B-BEDD-493889F2DCED}" srcId="{5EDD6948-BFA1-42E1-A2E0-CA3BB9CCFFB1}" destId="{FA1028DE-7CD3-4D5F-B2E9-60A9C91B514C}" srcOrd="0" destOrd="0" parTransId="{FFBC5158-E9C5-4B4D-A02F-3C43AB7503D3}" sibTransId="{F3FDEE61-5FF2-4537-A8AA-0ED568B7A8A8}"/>
    <dgm:cxn modelId="{1EAD0362-5ABF-403D-998A-53DAB98B1E04}" srcId="{5EDD6948-BFA1-42E1-A2E0-CA3BB9CCFFB1}" destId="{0A25E594-FC60-4C4E-85F9-6945499E760E}" srcOrd="1" destOrd="0" parTransId="{86235FBF-0219-4FD0-9B16-65B7415E166C}" sibTransId="{FB9B85AE-3216-4DE1-AC09-CC0B37A9DEEB}"/>
    <dgm:cxn modelId="{BC4DF543-4F1F-4722-9A5C-9725CB57F9A1}" type="presOf" srcId="{FB9B85AE-3216-4DE1-AC09-CC0B37A9DEEB}" destId="{E86CF2C0-117C-48FD-9F8F-8B438DF0FAD8}" srcOrd="0" destOrd="0" presId="urn:microsoft.com/office/officeart/2005/8/layout/cycle2"/>
    <dgm:cxn modelId="{825FF053-98AB-4305-BDB6-4A46B22617CB}" type="presOf" srcId="{317A2CA3-7744-423C-97D0-39DB4D77ADA8}" destId="{8E96244B-7DBA-4C73-AC59-56F38BF9D904}" srcOrd="0" destOrd="0" presId="urn:microsoft.com/office/officeart/2005/8/layout/cycle2"/>
    <dgm:cxn modelId="{DD6FC47D-67F9-4B4E-BAA1-EFC125DA3DD9}" type="presOf" srcId="{317A2CA3-7744-423C-97D0-39DB4D77ADA8}" destId="{3B963495-C7F9-41F5-A2C7-FA748EE7B7AA}" srcOrd="1" destOrd="0" presId="urn:microsoft.com/office/officeart/2005/8/layout/cycle2"/>
    <dgm:cxn modelId="{12ABEB80-7581-4F78-AA42-6882805F0AC9}" type="presOf" srcId="{96D9DCC5-9A8E-4977-A36F-A0C5F2A34BA2}" destId="{A87A1452-1F94-46AF-B7A0-B5A731AA4565}" srcOrd="0" destOrd="0" presId="urn:microsoft.com/office/officeart/2005/8/layout/cycle2"/>
    <dgm:cxn modelId="{986C6791-C683-4D88-A199-95A1B61BA752}" type="presOf" srcId="{5EDD6948-BFA1-42E1-A2E0-CA3BB9CCFFB1}" destId="{15BFF1D0-A8E0-4045-AD3F-09ED9DAAB70D}" srcOrd="0" destOrd="0" presId="urn:microsoft.com/office/officeart/2005/8/layout/cycle2"/>
    <dgm:cxn modelId="{4BE822A3-F131-4A71-B230-0B91533C7ED4}" type="presOf" srcId="{96D9DCC5-9A8E-4977-A36F-A0C5F2A34BA2}" destId="{3BF6FA2D-4079-4184-8499-D79286F5AF96}" srcOrd="1" destOrd="0" presId="urn:microsoft.com/office/officeart/2005/8/layout/cycle2"/>
    <dgm:cxn modelId="{07C795D8-23B7-4438-9D21-069ADB1A1F04}" type="presOf" srcId="{F3FDEE61-5FF2-4537-A8AA-0ED568B7A8A8}" destId="{840839DE-5021-4782-846F-6795E1B29F53}" srcOrd="1" destOrd="0" presId="urn:microsoft.com/office/officeart/2005/8/layout/cycle2"/>
    <dgm:cxn modelId="{784B8CE1-6CF3-4A8E-99B4-622D77EE3DA1}" type="presOf" srcId="{FA1028DE-7CD3-4D5F-B2E9-60A9C91B514C}" destId="{A38F0727-288A-426A-9DF1-FC7B27DE9C58}" srcOrd="0" destOrd="0" presId="urn:microsoft.com/office/officeart/2005/8/layout/cycle2"/>
    <dgm:cxn modelId="{98D6CEE7-D79A-48FA-90E5-476BA1CD0425}" type="presOf" srcId="{0A25E594-FC60-4C4E-85F9-6945499E760E}" destId="{A484D885-0AB3-4043-BF17-6BA6741081C2}" srcOrd="0" destOrd="0" presId="urn:microsoft.com/office/officeart/2005/8/layout/cycle2"/>
    <dgm:cxn modelId="{F84874EF-865F-4797-BA36-11323996E8C9}" type="presOf" srcId="{DBC3D2E1-A95D-4C9C-B268-FA94F1513B8F}" destId="{6B24F708-5415-4847-9D73-90E1EBE9AD30}" srcOrd="0" destOrd="0" presId="urn:microsoft.com/office/officeart/2005/8/layout/cycle2"/>
    <dgm:cxn modelId="{79327AF5-1BA4-420A-B4D9-37B24E38C508}" type="presOf" srcId="{FB9B85AE-3216-4DE1-AC09-CC0B37A9DEEB}" destId="{450DB06F-1BAD-4F85-BD92-0ACD58B189E1}" srcOrd="1" destOrd="0" presId="urn:microsoft.com/office/officeart/2005/8/layout/cycle2"/>
    <dgm:cxn modelId="{4D3C4DF8-F4DA-4D28-8AE9-DDD72EFB7A01}" type="presOf" srcId="{CE514B4E-1AED-42ED-9B88-FE7B25F12EEB}" destId="{BC9266D7-85B9-4C63-8634-FA60E8E8BE9B}" srcOrd="0" destOrd="0" presId="urn:microsoft.com/office/officeart/2005/8/layout/cycle2"/>
    <dgm:cxn modelId="{424D20FF-2AFA-4574-881A-A3598DA80320}" srcId="{5EDD6948-BFA1-42E1-A2E0-CA3BB9CCFFB1}" destId="{CE514B4E-1AED-42ED-9B88-FE7B25F12EEB}" srcOrd="3" destOrd="0" parTransId="{7B317B25-30C7-4DFE-919D-A61C8161D39D}" sibTransId="{96D9DCC5-9A8E-4977-A36F-A0C5F2A34BA2}"/>
    <dgm:cxn modelId="{E434E981-A3E6-4D79-AC8B-774B2CC7D8B2}" type="presParOf" srcId="{15BFF1D0-A8E0-4045-AD3F-09ED9DAAB70D}" destId="{A38F0727-288A-426A-9DF1-FC7B27DE9C58}" srcOrd="0" destOrd="0" presId="urn:microsoft.com/office/officeart/2005/8/layout/cycle2"/>
    <dgm:cxn modelId="{B50C5898-A16D-47B1-B6F4-DC3E0AA53D4E}" type="presParOf" srcId="{15BFF1D0-A8E0-4045-AD3F-09ED9DAAB70D}" destId="{6E7A4871-32AF-44E8-8936-FF58FD0A0E74}" srcOrd="1" destOrd="0" presId="urn:microsoft.com/office/officeart/2005/8/layout/cycle2"/>
    <dgm:cxn modelId="{8188B632-3DF8-4E7A-841D-578D903B3F56}" type="presParOf" srcId="{6E7A4871-32AF-44E8-8936-FF58FD0A0E74}" destId="{840839DE-5021-4782-846F-6795E1B29F53}" srcOrd="0" destOrd="0" presId="urn:microsoft.com/office/officeart/2005/8/layout/cycle2"/>
    <dgm:cxn modelId="{EE32A36B-9D7C-4EE2-9BAC-CB66B59EB0A4}" type="presParOf" srcId="{15BFF1D0-A8E0-4045-AD3F-09ED9DAAB70D}" destId="{A484D885-0AB3-4043-BF17-6BA6741081C2}" srcOrd="2" destOrd="0" presId="urn:microsoft.com/office/officeart/2005/8/layout/cycle2"/>
    <dgm:cxn modelId="{4B11DB93-CC6B-437C-A5D8-FBD3B230D6F0}" type="presParOf" srcId="{15BFF1D0-A8E0-4045-AD3F-09ED9DAAB70D}" destId="{E86CF2C0-117C-48FD-9F8F-8B438DF0FAD8}" srcOrd="3" destOrd="0" presId="urn:microsoft.com/office/officeart/2005/8/layout/cycle2"/>
    <dgm:cxn modelId="{873EC10A-AF13-410F-94C3-E7A201854734}" type="presParOf" srcId="{E86CF2C0-117C-48FD-9F8F-8B438DF0FAD8}" destId="{450DB06F-1BAD-4F85-BD92-0ACD58B189E1}" srcOrd="0" destOrd="0" presId="urn:microsoft.com/office/officeart/2005/8/layout/cycle2"/>
    <dgm:cxn modelId="{FBC941A3-AD88-4075-AECD-B152158C509C}" type="presParOf" srcId="{15BFF1D0-A8E0-4045-AD3F-09ED9DAAB70D}" destId="{6B24F708-5415-4847-9D73-90E1EBE9AD30}" srcOrd="4" destOrd="0" presId="urn:microsoft.com/office/officeart/2005/8/layout/cycle2"/>
    <dgm:cxn modelId="{9EB15211-0E33-4B9A-B863-FE98F57B678E}" type="presParOf" srcId="{15BFF1D0-A8E0-4045-AD3F-09ED9DAAB70D}" destId="{8E96244B-7DBA-4C73-AC59-56F38BF9D904}" srcOrd="5" destOrd="0" presId="urn:microsoft.com/office/officeart/2005/8/layout/cycle2"/>
    <dgm:cxn modelId="{A35F0704-BE11-457E-B18F-FBB06C78F85C}" type="presParOf" srcId="{8E96244B-7DBA-4C73-AC59-56F38BF9D904}" destId="{3B963495-C7F9-41F5-A2C7-FA748EE7B7AA}" srcOrd="0" destOrd="0" presId="urn:microsoft.com/office/officeart/2005/8/layout/cycle2"/>
    <dgm:cxn modelId="{4184587E-67DD-4E34-A29A-06E17F04642E}" type="presParOf" srcId="{15BFF1D0-A8E0-4045-AD3F-09ED9DAAB70D}" destId="{BC9266D7-85B9-4C63-8634-FA60E8E8BE9B}" srcOrd="6" destOrd="0" presId="urn:microsoft.com/office/officeart/2005/8/layout/cycle2"/>
    <dgm:cxn modelId="{F3D5D95F-6D52-41DE-B4C4-46AAC0382A4E}" type="presParOf" srcId="{15BFF1D0-A8E0-4045-AD3F-09ED9DAAB70D}" destId="{A87A1452-1F94-46AF-B7A0-B5A731AA4565}" srcOrd="7" destOrd="0" presId="urn:microsoft.com/office/officeart/2005/8/layout/cycle2"/>
    <dgm:cxn modelId="{24BCA018-2533-4DF4-A825-414AB3E75379}" type="presParOf" srcId="{A87A1452-1F94-46AF-B7A0-B5A731AA4565}" destId="{3BF6FA2D-4079-4184-8499-D79286F5AF9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B4C8304-8D3F-48EF-9494-77CD055CE54C}" type="doc">
      <dgm:prSet loTypeId="urn:microsoft.com/office/officeart/2005/8/layout/matrix3" loCatId="matrix" qsTypeId="urn:microsoft.com/office/officeart/2005/8/quickstyle/simple1" qsCatId="simple" csTypeId="urn:microsoft.com/office/officeart/2005/8/colors/accent6_1" csCatId="accent6" phldr="1"/>
      <dgm:spPr/>
      <dgm:t>
        <a:bodyPr/>
        <a:lstStyle/>
        <a:p>
          <a:endParaRPr lang="en-GB"/>
        </a:p>
      </dgm:t>
    </dgm:pt>
    <dgm:pt modelId="{680330CB-790E-4C3D-B581-DC2C16B5B367}">
      <dgm:prSet/>
      <dgm:spPr/>
      <dgm:t>
        <a:bodyPr/>
        <a:lstStyle/>
        <a:p>
          <a:r>
            <a:rPr lang="en-GB" b="0" i="0" baseline="0"/>
            <a:t>Comprehensive Biodiversity Management Plan</a:t>
          </a:r>
          <a:endParaRPr lang="en-GB"/>
        </a:p>
      </dgm:t>
    </dgm:pt>
    <dgm:pt modelId="{43A14987-F4F4-4680-96EC-AF5A7C26017E}" type="parTrans" cxnId="{FC6C8D91-B265-4789-995C-EECF97A4F684}">
      <dgm:prSet/>
      <dgm:spPr/>
      <dgm:t>
        <a:bodyPr/>
        <a:lstStyle/>
        <a:p>
          <a:endParaRPr lang="en-GB"/>
        </a:p>
      </dgm:t>
    </dgm:pt>
    <dgm:pt modelId="{A037070E-C193-4A91-AB82-3547010B3B8D}" type="sibTrans" cxnId="{FC6C8D91-B265-4789-995C-EECF97A4F684}">
      <dgm:prSet/>
      <dgm:spPr/>
      <dgm:t>
        <a:bodyPr/>
        <a:lstStyle/>
        <a:p>
          <a:endParaRPr lang="en-GB"/>
        </a:p>
      </dgm:t>
    </dgm:pt>
    <dgm:pt modelId="{5C793C03-CA4D-49A4-A3F3-BDF4B60ED344}">
      <dgm:prSet/>
      <dgm:spPr/>
      <dgm:t>
        <a:bodyPr/>
        <a:lstStyle/>
        <a:p>
          <a:r>
            <a:rPr lang="en-GB" b="0" i="0" baseline="0"/>
            <a:t>Detailed ecosystem mapping and assessment</a:t>
          </a:r>
          <a:endParaRPr lang="en-GB"/>
        </a:p>
      </dgm:t>
    </dgm:pt>
    <dgm:pt modelId="{D3EA65F8-0330-4233-9395-1905AAB6B4F7}" type="parTrans" cxnId="{008F97D8-09F5-4BA6-AD8D-1D8DBD97556A}">
      <dgm:prSet/>
      <dgm:spPr/>
      <dgm:t>
        <a:bodyPr/>
        <a:lstStyle/>
        <a:p>
          <a:endParaRPr lang="en-GB"/>
        </a:p>
      </dgm:t>
    </dgm:pt>
    <dgm:pt modelId="{6CE67EDC-B8DB-495C-8F81-510214F1518B}" type="sibTrans" cxnId="{008F97D8-09F5-4BA6-AD8D-1D8DBD97556A}">
      <dgm:prSet/>
      <dgm:spPr/>
      <dgm:t>
        <a:bodyPr/>
        <a:lstStyle/>
        <a:p>
          <a:endParaRPr lang="en-GB"/>
        </a:p>
      </dgm:t>
    </dgm:pt>
    <dgm:pt modelId="{0C8DE74E-6143-4FD4-B97A-D16D178F6976}">
      <dgm:prSet/>
      <dgm:spPr/>
      <dgm:t>
        <a:bodyPr/>
        <a:lstStyle/>
        <a:p>
          <a:r>
            <a:rPr lang="en-GB"/>
            <a:t>Biodiversity Offset strategy and Plan</a:t>
          </a:r>
        </a:p>
      </dgm:t>
    </dgm:pt>
    <dgm:pt modelId="{2412E701-3EFF-4F1F-AFFE-A95CF138F788}" type="parTrans" cxnId="{EE52A6C5-2CB1-41E4-B125-4133BEBEBF80}">
      <dgm:prSet/>
      <dgm:spPr/>
      <dgm:t>
        <a:bodyPr/>
        <a:lstStyle/>
        <a:p>
          <a:endParaRPr lang="en-GB"/>
        </a:p>
      </dgm:t>
    </dgm:pt>
    <dgm:pt modelId="{2DB9F253-8103-4EB7-85C3-9E4A4BBFE744}" type="sibTrans" cxnId="{EE52A6C5-2CB1-41E4-B125-4133BEBEBF80}">
      <dgm:prSet/>
      <dgm:spPr/>
      <dgm:t>
        <a:bodyPr/>
        <a:lstStyle/>
        <a:p>
          <a:endParaRPr lang="en-GB"/>
        </a:p>
      </dgm:t>
    </dgm:pt>
    <dgm:pt modelId="{531C7BEE-C44E-4CB7-A209-1A9BA0F627CD}">
      <dgm:prSet/>
      <dgm:spPr/>
      <dgm:t>
        <a:bodyPr/>
        <a:lstStyle/>
        <a:p>
          <a:r>
            <a:rPr lang="en-GB" b="0" i="0" baseline="0"/>
            <a:t>Continuous monitoring and reporting</a:t>
          </a:r>
          <a:endParaRPr lang="en-GB"/>
        </a:p>
      </dgm:t>
    </dgm:pt>
    <dgm:pt modelId="{748C33C4-DA51-4F41-A259-370605C7AA25}" type="parTrans" cxnId="{74A5B179-711A-462A-95F4-61E9C3AD774D}">
      <dgm:prSet/>
      <dgm:spPr/>
      <dgm:t>
        <a:bodyPr/>
        <a:lstStyle/>
        <a:p>
          <a:endParaRPr lang="en-GB"/>
        </a:p>
      </dgm:t>
    </dgm:pt>
    <dgm:pt modelId="{56320A50-99B7-4C22-860A-1712B4F8315A}" type="sibTrans" cxnId="{74A5B179-711A-462A-95F4-61E9C3AD774D}">
      <dgm:prSet/>
      <dgm:spPr/>
      <dgm:t>
        <a:bodyPr/>
        <a:lstStyle/>
        <a:p>
          <a:endParaRPr lang="en-GB"/>
        </a:p>
      </dgm:t>
    </dgm:pt>
    <dgm:pt modelId="{793203ED-74CF-4FB3-A6DE-CB582F6B4F1E}" type="pres">
      <dgm:prSet presAssocID="{3B4C8304-8D3F-48EF-9494-77CD055CE54C}" presName="matrix" presStyleCnt="0">
        <dgm:presLayoutVars>
          <dgm:chMax val="1"/>
          <dgm:dir/>
          <dgm:resizeHandles val="exact"/>
        </dgm:presLayoutVars>
      </dgm:prSet>
      <dgm:spPr/>
    </dgm:pt>
    <dgm:pt modelId="{6978361D-D555-4EE4-B38F-1D30CFDB0670}" type="pres">
      <dgm:prSet presAssocID="{3B4C8304-8D3F-48EF-9494-77CD055CE54C}" presName="diamond" presStyleLbl="bgShp" presStyleIdx="0" presStyleCnt="1"/>
      <dgm:spPr/>
    </dgm:pt>
    <dgm:pt modelId="{357B52BC-C54D-4221-AA4E-3E3BE510412C}" type="pres">
      <dgm:prSet presAssocID="{3B4C8304-8D3F-48EF-9494-77CD055CE54C}" presName="quad1" presStyleLbl="node1" presStyleIdx="0" presStyleCnt="4">
        <dgm:presLayoutVars>
          <dgm:chMax val="0"/>
          <dgm:chPref val="0"/>
          <dgm:bulletEnabled val="1"/>
        </dgm:presLayoutVars>
      </dgm:prSet>
      <dgm:spPr/>
    </dgm:pt>
    <dgm:pt modelId="{2632D33E-AB3D-4747-BA15-961325EA3BD3}" type="pres">
      <dgm:prSet presAssocID="{3B4C8304-8D3F-48EF-9494-77CD055CE54C}" presName="quad2" presStyleLbl="node1" presStyleIdx="1" presStyleCnt="4">
        <dgm:presLayoutVars>
          <dgm:chMax val="0"/>
          <dgm:chPref val="0"/>
          <dgm:bulletEnabled val="1"/>
        </dgm:presLayoutVars>
      </dgm:prSet>
      <dgm:spPr/>
    </dgm:pt>
    <dgm:pt modelId="{1A978247-BF2A-4D18-A53C-63F9750D04D0}" type="pres">
      <dgm:prSet presAssocID="{3B4C8304-8D3F-48EF-9494-77CD055CE54C}" presName="quad3" presStyleLbl="node1" presStyleIdx="2" presStyleCnt="4">
        <dgm:presLayoutVars>
          <dgm:chMax val="0"/>
          <dgm:chPref val="0"/>
          <dgm:bulletEnabled val="1"/>
        </dgm:presLayoutVars>
      </dgm:prSet>
      <dgm:spPr/>
    </dgm:pt>
    <dgm:pt modelId="{5033C14E-0532-4F18-AC38-512678C97B77}" type="pres">
      <dgm:prSet presAssocID="{3B4C8304-8D3F-48EF-9494-77CD055CE54C}" presName="quad4" presStyleLbl="node1" presStyleIdx="3" presStyleCnt="4">
        <dgm:presLayoutVars>
          <dgm:chMax val="0"/>
          <dgm:chPref val="0"/>
          <dgm:bulletEnabled val="1"/>
        </dgm:presLayoutVars>
      </dgm:prSet>
      <dgm:spPr/>
    </dgm:pt>
  </dgm:ptLst>
  <dgm:cxnLst>
    <dgm:cxn modelId="{945F7A07-F201-4BDA-9355-FA5DF359088F}" type="presOf" srcId="{680330CB-790E-4C3D-B581-DC2C16B5B367}" destId="{357B52BC-C54D-4221-AA4E-3E3BE510412C}" srcOrd="0" destOrd="0" presId="urn:microsoft.com/office/officeart/2005/8/layout/matrix3"/>
    <dgm:cxn modelId="{CA012613-9F06-48D6-A7D8-E89EAF1C5239}" type="presOf" srcId="{0C8DE74E-6143-4FD4-B97A-D16D178F6976}" destId="{1A978247-BF2A-4D18-A53C-63F9750D04D0}" srcOrd="0" destOrd="0" presId="urn:microsoft.com/office/officeart/2005/8/layout/matrix3"/>
    <dgm:cxn modelId="{F9A9993F-41AB-4DB7-8F24-E6708F012289}" type="presOf" srcId="{5C793C03-CA4D-49A4-A3F3-BDF4B60ED344}" destId="{2632D33E-AB3D-4747-BA15-961325EA3BD3}" srcOrd="0" destOrd="0" presId="urn:microsoft.com/office/officeart/2005/8/layout/matrix3"/>
    <dgm:cxn modelId="{28C61464-9F4F-4703-8DF8-5C93896364A3}" type="presOf" srcId="{531C7BEE-C44E-4CB7-A209-1A9BA0F627CD}" destId="{5033C14E-0532-4F18-AC38-512678C97B77}" srcOrd="0" destOrd="0" presId="urn:microsoft.com/office/officeart/2005/8/layout/matrix3"/>
    <dgm:cxn modelId="{74A5B179-711A-462A-95F4-61E9C3AD774D}" srcId="{3B4C8304-8D3F-48EF-9494-77CD055CE54C}" destId="{531C7BEE-C44E-4CB7-A209-1A9BA0F627CD}" srcOrd="3" destOrd="0" parTransId="{748C33C4-DA51-4F41-A259-370605C7AA25}" sibTransId="{56320A50-99B7-4C22-860A-1712B4F8315A}"/>
    <dgm:cxn modelId="{FC6C8D91-B265-4789-995C-EECF97A4F684}" srcId="{3B4C8304-8D3F-48EF-9494-77CD055CE54C}" destId="{680330CB-790E-4C3D-B581-DC2C16B5B367}" srcOrd="0" destOrd="0" parTransId="{43A14987-F4F4-4680-96EC-AF5A7C26017E}" sibTransId="{A037070E-C193-4A91-AB82-3547010B3B8D}"/>
    <dgm:cxn modelId="{EE52A6C5-2CB1-41E4-B125-4133BEBEBF80}" srcId="{3B4C8304-8D3F-48EF-9494-77CD055CE54C}" destId="{0C8DE74E-6143-4FD4-B97A-D16D178F6976}" srcOrd="2" destOrd="0" parTransId="{2412E701-3EFF-4F1F-AFFE-A95CF138F788}" sibTransId="{2DB9F253-8103-4EB7-85C3-9E4A4BBFE744}"/>
    <dgm:cxn modelId="{008F97D8-09F5-4BA6-AD8D-1D8DBD97556A}" srcId="{3B4C8304-8D3F-48EF-9494-77CD055CE54C}" destId="{5C793C03-CA4D-49A4-A3F3-BDF4B60ED344}" srcOrd="1" destOrd="0" parTransId="{D3EA65F8-0330-4233-9395-1905AAB6B4F7}" sibTransId="{6CE67EDC-B8DB-495C-8F81-510214F1518B}"/>
    <dgm:cxn modelId="{1070DFFB-991D-4A2A-B3C5-264F3AF4B227}" type="presOf" srcId="{3B4C8304-8D3F-48EF-9494-77CD055CE54C}" destId="{793203ED-74CF-4FB3-A6DE-CB582F6B4F1E}" srcOrd="0" destOrd="0" presId="urn:microsoft.com/office/officeart/2005/8/layout/matrix3"/>
    <dgm:cxn modelId="{5727FA13-80BC-4745-A0BD-BA7945E9D4A6}" type="presParOf" srcId="{793203ED-74CF-4FB3-A6DE-CB582F6B4F1E}" destId="{6978361D-D555-4EE4-B38F-1D30CFDB0670}" srcOrd="0" destOrd="0" presId="urn:microsoft.com/office/officeart/2005/8/layout/matrix3"/>
    <dgm:cxn modelId="{B38E215D-1AFE-4C93-9F92-C383888BDFA2}" type="presParOf" srcId="{793203ED-74CF-4FB3-A6DE-CB582F6B4F1E}" destId="{357B52BC-C54D-4221-AA4E-3E3BE510412C}" srcOrd="1" destOrd="0" presId="urn:microsoft.com/office/officeart/2005/8/layout/matrix3"/>
    <dgm:cxn modelId="{E43AE0A6-E7AC-4653-BB0A-B1946E71748A}" type="presParOf" srcId="{793203ED-74CF-4FB3-A6DE-CB582F6B4F1E}" destId="{2632D33E-AB3D-4747-BA15-961325EA3BD3}" srcOrd="2" destOrd="0" presId="urn:microsoft.com/office/officeart/2005/8/layout/matrix3"/>
    <dgm:cxn modelId="{C35B5D48-DD81-4719-842A-88EAB04BC56B}" type="presParOf" srcId="{793203ED-74CF-4FB3-A6DE-CB582F6B4F1E}" destId="{1A978247-BF2A-4D18-A53C-63F9750D04D0}" srcOrd="3" destOrd="0" presId="urn:microsoft.com/office/officeart/2005/8/layout/matrix3"/>
    <dgm:cxn modelId="{366DECB0-1ED7-4CE3-A465-E61A03BF8D83}" type="presParOf" srcId="{793203ED-74CF-4FB3-A6DE-CB582F6B4F1E}" destId="{5033C14E-0532-4F18-AC38-512678C97B77}"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A220D-F429-417D-962A-25C10B774774}">
      <dsp:nvSpPr>
        <dsp:cNvPr id="0" name=""/>
        <dsp:cNvSpPr/>
      </dsp:nvSpPr>
      <dsp:spPr>
        <a:xfrm>
          <a:off x="0" y="1372648"/>
          <a:ext cx="1140390" cy="684234"/>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kern="1200" baseline="0"/>
            <a:t>Exploration</a:t>
          </a:r>
          <a:endParaRPr lang="en-GB" sz="1400" kern="1200"/>
        </a:p>
      </dsp:txBody>
      <dsp:txXfrm>
        <a:off x="20041" y="1392689"/>
        <a:ext cx="1100308" cy="644152"/>
      </dsp:txXfrm>
    </dsp:sp>
    <dsp:sp modelId="{500D4C60-D7AE-4713-8B39-855032D3555D}">
      <dsp:nvSpPr>
        <dsp:cNvPr id="0" name=""/>
        <dsp:cNvSpPr/>
      </dsp:nvSpPr>
      <dsp:spPr>
        <a:xfrm>
          <a:off x="1244928" y="1573357"/>
          <a:ext cx="221620" cy="282816"/>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1244928" y="1629920"/>
        <a:ext cx="155134" cy="169690"/>
      </dsp:txXfrm>
    </dsp:sp>
    <dsp:sp modelId="{6A983141-67DE-4C5D-99F7-77C114705A63}">
      <dsp:nvSpPr>
        <dsp:cNvPr id="0" name=""/>
        <dsp:cNvSpPr/>
      </dsp:nvSpPr>
      <dsp:spPr>
        <a:xfrm>
          <a:off x="1558541" y="1372648"/>
          <a:ext cx="1140390" cy="684234"/>
        </a:xfrm>
        <a:prstGeom prst="roundRect">
          <a:avLst>
            <a:gd name="adj" fmla="val 10000"/>
          </a:avLst>
        </a:prstGeom>
        <a:solidFill>
          <a:schemeClr val="accent6">
            <a:shade val="50000"/>
            <a:hueOff val="-38075"/>
            <a:satOff val="-27156"/>
            <a:lumOff val="209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kern="1200" baseline="0"/>
            <a:t>Development</a:t>
          </a:r>
          <a:endParaRPr lang="en-GB" sz="1400" kern="1200"/>
        </a:p>
      </dsp:txBody>
      <dsp:txXfrm>
        <a:off x="1578582" y="1392689"/>
        <a:ext cx="1100308" cy="644152"/>
      </dsp:txXfrm>
    </dsp:sp>
    <dsp:sp modelId="{FB45AD4D-9A1F-4CE2-852F-80480C500D96}">
      <dsp:nvSpPr>
        <dsp:cNvPr id="0" name=""/>
        <dsp:cNvSpPr/>
      </dsp:nvSpPr>
      <dsp:spPr>
        <a:xfrm>
          <a:off x="2812971" y="1573357"/>
          <a:ext cx="241762" cy="282816"/>
        </a:xfrm>
        <a:prstGeom prst="rightArrow">
          <a:avLst>
            <a:gd name="adj1" fmla="val 60000"/>
            <a:gd name="adj2" fmla="val 50000"/>
          </a:avLst>
        </a:prstGeom>
        <a:solidFill>
          <a:schemeClr val="accent6">
            <a:shade val="90000"/>
            <a:hueOff val="-50423"/>
            <a:satOff val="-34270"/>
            <a:lumOff val="2357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2812971" y="1629920"/>
        <a:ext cx="169233" cy="169690"/>
      </dsp:txXfrm>
    </dsp:sp>
    <dsp:sp modelId="{0D7E32D1-43C6-4816-8417-C39C9DA2DF20}">
      <dsp:nvSpPr>
        <dsp:cNvPr id="0" name=""/>
        <dsp:cNvSpPr/>
      </dsp:nvSpPr>
      <dsp:spPr>
        <a:xfrm>
          <a:off x="3155088" y="1372648"/>
          <a:ext cx="1140390" cy="684234"/>
        </a:xfrm>
        <a:prstGeom prst="roundRect">
          <a:avLst>
            <a:gd name="adj" fmla="val 10000"/>
          </a:avLst>
        </a:prstGeom>
        <a:solidFill>
          <a:schemeClr val="accent6">
            <a:shade val="50000"/>
            <a:hueOff val="-76151"/>
            <a:satOff val="-54311"/>
            <a:lumOff val="419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kern="1200" baseline="0"/>
            <a:t>Construction</a:t>
          </a:r>
          <a:endParaRPr lang="en-GB" sz="1400" kern="1200"/>
        </a:p>
      </dsp:txBody>
      <dsp:txXfrm>
        <a:off x="3175129" y="1392689"/>
        <a:ext cx="1100308" cy="644152"/>
      </dsp:txXfrm>
    </dsp:sp>
    <dsp:sp modelId="{7B18D7FD-BE1E-4D85-942A-5D77859A13DF}">
      <dsp:nvSpPr>
        <dsp:cNvPr id="0" name=""/>
        <dsp:cNvSpPr/>
      </dsp:nvSpPr>
      <dsp:spPr>
        <a:xfrm>
          <a:off x="4409517" y="1573357"/>
          <a:ext cx="241762" cy="282816"/>
        </a:xfrm>
        <a:prstGeom prst="rightArrow">
          <a:avLst>
            <a:gd name="adj1" fmla="val 60000"/>
            <a:gd name="adj2" fmla="val 50000"/>
          </a:avLst>
        </a:prstGeom>
        <a:solidFill>
          <a:schemeClr val="accent6">
            <a:shade val="90000"/>
            <a:hueOff val="-100845"/>
            <a:satOff val="-68540"/>
            <a:lumOff val="4714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4409517" y="1629920"/>
        <a:ext cx="169233" cy="169690"/>
      </dsp:txXfrm>
    </dsp:sp>
    <dsp:sp modelId="{4FCB69BE-BAB2-4C41-876A-556B91BA7253}">
      <dsp:nvSpPr>
        <dsp:cNvPr id="0" name=""/>
        <dsp:cNvSpPr/>
      </dsp:nvSpPr>
      <dsp:spPr>
        <a:xfrm>
          <a:off x="4751634" y="1372648"/>
          <a:ext cx="1140390" cy="684234"/>
        </a:xfrm>
        <a:prstGeom prst="roundRect">
          <a:avLst>
            <a:gd name="adj" fmla="val 10000"/>
          </a:avLst>
        </a:prstGeom>
        <a:solidFill>
          <a:schemeClr val="accent6">
            <a:shade val="50000"/>
            <a:hueOff val="-76151"/>
            <a:satOff val="-54311"/>
            <a:lumOff val="419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kern="1200" baseline="0"/>
            <a:t>Operation</a:t>
          </a:r>
          <a:endParaRPr lang="en-GB" sz="1400" kern="1200"/>
        </a:p>
      </dsp:txBody>
      <dsp:txXfrm>
        <a:off x="4771675" y="1392689"/>
        <a:ext cx="1100308" cy="644152"/>
      </dsp:txXfrm>
    </dsp:sp>
    <dsp:sp modelId="{02146689-F5A3-48B5-BDA2-1A1C76CB4580}">
      <dsp:nvSpPr>
        <dsp:cNvPr id="0" name=""/>
        <dsp:cNvSpPr/>
      </dsp:nvSpPr>
      <dsp:spPr>
        <a:xfrm>
          <a:off x="6006064" y="1573357"/>
          <a:ext cx="241762" cy="282816"/>
        </a:xfrm>
        <a:prstGeom prst="rightArrow">
          <a:avLst>
            <a:gd name="adj1" fmla="val 60000"/>
            <a:gd name="adj2" fmla="val 50000"/>
          </a:avLst>
        </a:prstGeom>
        <a:solidFill>
          <a:schemeClr val="accent6">
            <a:shade val="90000"/>
            <a:hueOff val="-50423"/>
            <a:satOff val="-34270"/>
            <a:lumOff val="2357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6006064" y="1629920"/>
        <a:ext cx="169233" cy="169690"/>
      </dsp:txXfrm>
    </dsp:sp>
    <dsp:sp modelId="{DAD08E36-B904-4BDB-96AA-10BD434398E7}">
      <dsp:nvSpPr>
        <dsp:cNvPr id="0" name=""/>
        <dsp:cNvSpPr/>
      </dsp:nvSpPr>
      <dsp:spPr>
        <a:xfrm>
          <a:off x="6348181" y="1372648"/>
          <a:ext cx="1140390" cy="684234"/>
        </a:xfrm>
        <a:prstGeom prst="roundRect">
          <a:avLst>
            <a:gd name="adj" fmla="val 10000"/>
          </a:avLst>
        </a:prstGeom>
        <a:solidFill>
          <a:schemeClr val="accent6">
            <a:shade val="50000"/>
            <a:hueOff val="-38075"/>
            <a:satOff val="-27156"/>
            <a:lumOff val="209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kern="1200" baseline="0"/>
            <a:t>Closure and Post-Closure</a:t>
          </a:r>
          <a:endParaRPr lang="en-GB" sz="1400" kern="1200"/>
        </a:p>
      </dsp:txBody>
      <dsp:txXfrm>
        <a:off x="6368222" y="1392689"/>
        <a:ext cx="1100308" cy="6441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8F0727-288A-426A-9DF1-FC7B27DE9C58}">
      <dsp:nvSpPr>
        <dsp:cNvPr id="0" name=""/>
        <dsp:cNvSpPr/>
      </dsp:nvSpPr>
      <dsp:spPr>
        <a:xfrm>
          <a:off x="3064339" y="578"/>
          <a:ext cx="1405255" cy="1405255"/>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0" i="0" kern="1200" baseline="0"/>
            <a:t>Training Programs and Skill Building</a:t>
          </a:r>
          <a:endParaRPr lang="en-GB" sz="1500" kern="1200"/>
        </a:p>
      </dsp:txBody>
      <dsp:txXfrm>
        <a:off x="3270134" y="206373"/>
        <a:ext cx="993665" cy="993665"/>
      </dsp:txXfrm>
    </dsp:sp>
    <dsp:sp modelId="{6E7A4871-32AF-44E8-8936-FF58FD0A0E74}">
      <dsp:nvSpPr>
        <dsp:cNvPr id="0" name=""/>
        <dsp:cNvSpPr/>
      </dsp:nvSpPr>
      <dsp:spPr>
        <a:xfrm rot="2700000">
          <a:off x="4318880" y="1205245"/>
          <a:ext cx="374524" cy="47427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4335334" y="1260376"/>
        <a:ext cx="262167" cy="284563"/>
      </dsp:txXfrm>
    </dsp:sp>
    <dsp:sp modelId="{A484D885-0AB3-4043-BF17-6BA6741081C2}">
      <dsp:nvSpPr>
        <dsp:cNvPr id="0" name=""/>
        <dsp:cNvSpPr/>
      </dsp:nvSpPr>
      <dsp:spPr>
        <a:xfrm>
          <a:off x="4557682" y="1493921"/>
          <a:ext cx="1405255" cy="1405255"/>
        </a:xfrm>
        <a:prstGeom prst="ellipse">
          <a:avLst/>
        </a:prstGeom>
        <a:solidFill>
          <a:schemeClr val="accent4">
            <a:hueOff val="-3560304"/>
            <a:satOff val="9295"/>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0" i="0" kern="1200" baseline="0"/>
            <a:t>Long-term Economic Benefits</a:t>
          </a:r>
          <a:endParaRPr lang="en-GB" sz="1500" kern="1200"/>
        </a:p>
      </dsp:txBody>
      <dsp:txXfrm>
        <a:off x="4763477" y="1699716"/>
        <a:ext cx="993665" cy="993665"/>
      </dsp:txXfrm>
    </dsp:sp>
    <dsp:sp modelId="{E86CF2C0-117C-48FD-9F8F-8B438DF0FAD8}">
      <dsp:nvSpPr>
        <dsp:cNvPr id="0" name=""/>
        <dsp:cNvSpPr/>
      </dsp:nvSpPr>
      <dsp:spPr>
        <a:xfrm rot="8100000">
          <a:off x="4333871" y="2698588"/>
          <a:ext cx="374524" cy="474273"/>
        </a:xfrm>
        <a:prstGeom prst="rightArrow">
          <a:avLst>
            <a:gd name="adj1" fmla="val 60000"/>
            <a:gd name="adj2" fmla="val 50000"/>
          </a:avLst>
        </a:prstGeom>
        <a:solidFill>
          <a:schemeClr val="accent4">
            <a:hueOff val="-3560304"/>
            <a:satOff val="9295"/>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rot="10800000">
        <a:off x="4429774" y="2753719"/>
        <a:ext cx="262167" cy="284563"/>
      </dsp:txXfrm>
    </dsp:sp>
    <dsp:sp modelId="{6B24F708-5415-4847-9D73-90E1EBE9AD30}">
      <dsp:nvSpPr>
        <dsp:cNvPr id="0" name=""/>
        <dsp:cNvSpPr/>
      </dsp:nvSpPr>
      <dsp:spPr>
        <a:xfrm>
          <a:off x="3064339" y="2987264"/>
          <a:ext cx="1405255" cy="1405255"/>
        </a:xfrm>
        <a:prstGeom prst="ellipse">
          <a:avLst/>
        </a:prstGeom>
        <a:solidFill>
          <a:schemeClr val="accent4">
            <a:hueOff val="-7120608"/>
            <a:satOff val="18590"/>
            <a:lumOff val="172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0" i="0" kern="1200" baseline="0"/>
            <a:t>Community Training Centre</a:t>
          </a:r>
          <a:endParaRPr lang="en-GB" sz="1500" kern="1200"/>
        </a:p>
      </dsp:txBody>
      <dsp:txXfrm>
        <a:off x="3270134" y="3193059"/>
        <a:ext cx="993665" cy="993665"/>
      </dsp:txXfrm>
    </dsp:sp>
    <dsp:sp modelId="{8E96244B-7DBA-4C73-AC59-56F38BF9D904}">
      <dsp:nvSpPr>
        <dsp:cNvPr id="0" name=""/>
        <dsp:cNvSpPr/>
      </dsp:nvSpPr>
      <dsp:spPr>
        <a:xfrm rot="13500000">
          <a:off x="2840528" y="2713578"/>
          <a:ext cx="374524" cy="474273"/>
        </a:xfrm>
        <a:prstGeom prst="rightArrow">
          <a:avLst>
            <a:gd name="adj1" fmla="val 60000"/>
            <a:gd name="adj2" fmla="val 50000"/>
          </a:avLst>
        </a:prstGeom>
        <a:solidFill>
          <a:schemeClr val="accent4">
            <a:hueOff val="-7120608"/>
            <a:satOff val="18590"/>
            <a:lumOff val="1725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rot="10800000">
        <a:off x="2936431" y="2848157"/>
        <a:ext cx="262167" cy="284563"/>
      </dsp:txXfrm>
    </dsp:sp>
    <dsp:sp modelId="{BC9266D7-85B9-4C63-8634-FA60E8E8BE9B}">
      <dsp:nvSpPr>
        <dsp:cNvPr id="0" name=""/>
        <dsp:cNvSpPr/>
      </dsp:nvSpPr>
      <dsp:spPr>
        <a:xfrm>
          <a:off x="1570996" y="1493921"/>
          <a:ext cx="1405255" cy="1405255"/>
        </a:xfrm>
        <a:prstGeom prst="ellipse">
          <a:avLst/>
        </a:prstGeom>
        <a:solidFill>
          <a:schemeClr val="accent4">
            <a:hueOff val="-10680912"/>
            <a:satOff val="27885"/>
            <a:lumOff val="258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b="0" i="0" kern="1200" baseline="0"/>
            <a:t>Adapting to evolving needs</a:t>
          </a:r>
          <a:endParaRPr lang="en-GB" sz="1500" kern="1200"/>
        </a:p>
      </dsp:txBody>
      <dsp:txXfrm>
        <a:off x="1776791" y="1699716"/>
        <a:ext cx="993665" cy="993665"/>
      </dsp:txXfrm>
    </dsp:sp>
    <dsp:sp modelId="{A87A1452-1F94-46AF-B7A0-B5A731AA4565}">
      <dsp:nvSpPr>
        <dsp:cNvPr id="0" name=""/>
        <dsp:cNvSpPr/>
      </dsp:nvSpPr>
      <dsp:spPr>
        <a:xfrm rot="18900000">
          <a:off x="2825538" y="1220235"/>
          <a:ext cx="374524" cy="474273"/>
        </a:xfrm>
        <a:prstGeom prst="rightArrow">
          <a:avLst>
            <a:gd name="adj1" fmla="val 60000"/>
            <a:gd name="adj2" fmla="val 50000"/>
          </a:avLst>
        </a:prstGeom>
        <a:solidFill>
          <a:schemeClr val="accent4">
            <a:hueOff val="-10680912"/>
            <a:satOff val="27885"/>
            <a:lumOff val="2588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2841992" y="1354814"/>
        <a:ext cx="262167" cy="2845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78361D-D555-4EE4-B38F-1D30CFDB0670}">
      <dsp:nvSpPr>
        <dsp:cNvPr id="0" name=""/>
        <dsp:cNvSpPr/>
      </dsp:nvSpPr>
      <dsp:spPr>
        <a:xfrm>
          <a:off x="1570417" y="0"/>
          <a:ext cx="4393098" cy="4393098"/>
        </a:xfrm>
        <a:prstGeom prst="diamond">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7B52BC-C54D-4221-AA4E-3E3BE510412C}">
      <dsp:nvSpPr>
        <dsp:cNvPr id="0" name=""/>
        <dsp:cNvSpPr/>
      </dsp:nvSpPr>
      <dsp:spPr>
        <a:xfrm>
          <a:off x="1987762" y="417344"/>
          <a:ext cx="1713308" cy="1713308"/>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0" i="0" kern="1200" baseline="0"/>
            <a:t>Comprehensive Biodiversity Management Plan</a:t>
          </a:r>
          <a:endParaRPr lang="en-GB" sz="1700" kern="1200"/>
        </a:p>
      </dsp:txBody>
      <dsp:txXfrm>
        <a:off x="2071399" y="500981"/>
        <a:ext cx="1546034" cy="1546034"/>
      </dsp:txXfrm>
    </dsp:sp>
    <dsp:sp modelId="{2632D33E-AB3D-4747-BA15-961325EA3BD3}">
      <dsp:nvSpPr>
        <dsp:cNvPr id="0" name=""/>
        <dsp:cNvSpPr/>
      </dsp:nvSpPr>
      <dsp:spPr>
        <a:xfrm>
          <a:off x="3832863" y="417344"/>
          <a:ext cx="1713308" cy="1713308"/>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0" i="0" kern="1200" baseline="0"/>
            <a:t>Detailed ecosystem mapping and assessment</a:t>
          </a:r>
          <a:endParaRPr lang="en-GB" sz="1700" kern="1200"/>
        </a:p>
      </dsp:txBody>
      <dsp:txXfrm>
        <a:off x="3916500" y="500981"/>
        <a:ext cx="1546034" cy="1546034"/>
      </dsp:txXfrm>
    </dsp:sp>
    <dsp:sp modelId="{1A978247-BF2A-4D18-A53C-63F9750D04D0}">
      <dsp:nvSpPr>
        <dsp:cNvPr id="0" name=""/>
        <dsp:cNvSpPr/>
      </dsp:nvSpPr>
      <dsp:spPr>
        <a:xfrm>
          <a:off x="1987762" y="2262445"/>
          <a:ext cx="1713308" cy="1713308"/>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Biodiversity Offset strategy and Plan</a:t>
          </a:r>
        </a:p>
      </dsp:txBody>
      <dsp:txXfrm>
        <a:off x="2071399" y="2346082"/>
        <a:ext cx="1546034" cy="1546034"/>
      </dsp:txXfrm>
    </dsp:sp>
    <dsp:sp modelId="{5033C14E-0532-4F18-AC38-512678C97B77}">
      <dsp:nvSpPr>
        <dsp:cNvPr id="0" name=""/>
        <dsp:cNvSpPr/>
      </dsp:nvSpPr>
      <dsp:spPr>
        <a:xfrm>
          <a:off x="3832863" y="2262445"/>
          <a:ext cx="1713308" cy="1713308"/>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0" i="0" kern="1200" baseline="0"/>
            <a:t>Continuous monitoring and reporting</a:t>
          </a:r>
          <a:endParaRPr lang="en-GB" sz="1700" kern="1200"/>
        </a:p>
      </dsp:txBody>
      <dsp:txXfrm>
        <a:off x="3916500" y="2346082"/>
        <a:ext cx="1546034" cy="154603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70AED8-CA32-4688-879F-154108E3CF04}" type="datetimeFigureOut">
              <a:rPr lang="en-US" smtClean="0"/>
              <a:t>11/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C88AFF-5601-4EBF-8FF4-65796F4F8545}" type="slidenum">
              <a:rPr lang="en-US" smtClean="0"/>
              <a:t>‹#›</a:t>
            </a:fld>
            <a:endParaRPr lang="en-US"/>
          </a:p>
        </p:txBody>
      </p:sp>
    </p:spTree>
    <p:extLst>
      <p:ext uri="{BB962C8B-B14F-4D97-AF65-F5344CB8AC3E}">
        <p14:creationId xmlns:p14="http://schemas.microsoft.com/office/powerpoint/2010/main" val="193890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__fkGroteskNeue_598ab8"/>
              </a:rPr>
              <a:t>Welcome to our presentation on empowering sustainable mining. We begin with our sustainability philosophy, which emphasizes our commitment to responsible resource management. This philosophy guides our operations, ensuring we balance economic growth with environmental stewardship and social equity. Our Integrated Management System is designed to align our sustainability goals with our daily operations. It allows us to continuously improve by monitoring our performance, evaluating outcomes, and incorporating stakeholder feedback into our processes.</a:t>
            </a:r>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2</a:t>
            </a:fld>
            <a:endParaRPr lang="en-US"/>
          </a:p>
        </p:txBody>
      </p:sp>
    </p:spTree>
    <p:extLst>
      <p:ext uri="{BB962C8B-B14F-4D97-AF65-F5344CB8AC3E}">
        <p14:creationId xmlns:p14="http://schemas.microsoft.com/office/powerpoint/2010/main" val="401046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__fkGroteskNeue_598ab8"/>
              </a:rPr>
              <a:t>Biodiversity protection is integral to our approach; we conduct thorough biodiversity assessments under the Environmental Impact Assessment process and implement conservation programs in collaboration with local communities. This ensures that we not only comply with regulations but also contribute positively to the ecosystems we impact.</a:t>
            </a:r>
            <a:endParaRPr lang="en-US"/>
          </a:p>
          <a:p>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11</a:t>
            </a:fld>
            <a:endParaRPr lang="en-US"/>
          </a:p>
        </p:txBody>
      </p:sp>
    </p:spTree>
    <p:extLst>
      <p:ext uri="{BB962C8B-B14F-4D97-AF65-F5344CB8AC3E}">
        <p14:creationId xmlns:p14="http://schemas.microsoft.com/office/powerpoint/2010/main" val="2579036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__fkGroteskNeue_598ab8"/>
              </a:rPr>
              <a:t>Engaging communities from the very beginning -during exploration- helps build trust and ensures that local knowledge is integrated into our operational plans. Ongoing dialogue is crucial; it allows us to address community concerns proactively, fostering a collaborative environment that benefits both the mining operation and the local population.</a:t>
            </a:r>
            <a:br>
              <a:rPr lang="en-US" b="0" i="0">
                <a:effectLst/>
                <a:latin typeface="__fkGroteskNeue_598ab8"/>
              </a:rPr>
            </a:br>
            <a:r>
              <a:rPr lang="en-US" b="0" i="0">
                <a:effectLst/>
                <a:latin typeface="__fkGroteskNeue_598ab8"/>
              </a:rPr>
              <a:t>At the same time, we are responsible for developing the necessary standards which define our way of working and ensure a solid sustainability performance. By adopting voluntary standards like those from the International Council on Mining and Metals and other associations, we can further enhance our commitment to responsible practices. Ultimately, these transparency efforts lead to greater accountability and trust from the communities we serve.</a:t>
            </a:r>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3</a:t>
            </a:fld>
            <a:endParaRPr lang="en-US"/>
          </a:p>
        </p:txBody>
      </p:sp>
    </p:spTree>
    <p:extLst>
      <p:ext uri="{BB962C8B-B14F-4D97-AF65-F5344CB8AC3E}">
        <p14:creationId xmlns:p14="http://schemas.microsoft.com/office/powerpoint/2010/main" val="1513537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__fkGroteskNeue_598ab8"/>
              </a:rPr>
              <a:t>Community engagement is vital for ensuring that mining projects are accepted and supported by local popul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__fkGroteskNeue_598ab8"/>
              </a:rPr>
              <a:t>Our Stakeholder Engagement Plan is designed to identify community needs and expectations effectively. One effective approach is participatory decision-making, where we actively involve community members in discussions, on an always-on approac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__fkGroteskNeue_598ab8"/>
              </a:rPr>
              <a:t>These engagements can take various forms, such as public fora, participatory workshops, grievance mechanisms and other channels through which their voices are heard. When communities feel involved and valued, it strengthens our relationship with them and enhances our social license to operate.</a:t>
            </a:r>
            <a:endParaRPr lang="en-US"/>
          </a:p>
          <a:p>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4</a:t>
            </a:fld>
            <a:endParaRPr lang="en-US"/>
          </a:p>
        </p:txBody>
      </p:sp>
    </p:spTree>
    <p:extLst>
      <p:ext uri="{BB962C8B-B14F-4D97-AF65-F5344CB8AC3E}">
        <p14:creationId xmlns:p14="http://schemas.microsoft.com/office/powerpoint/2010/main" val="3546224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__fkGroteskNeue_598ab8"/>
              </a:rPr>
              <a:t>Transparency is a cornerstone of building public trust in the mining sector. One of the key practices is conducting Environmental &amp; Social Impact Assessments, which allow us to evaluate potential effects on the environment and local communities before projects begin. Sharing our plans &amp; mitigations with the public is essential for fostering informed discussions. The extensive ESIA consultation that took place a couple of years ago is a strong example of such kind of engagements. </a:t>
            </a:r>
          </a:p>
          <a:p>
            <a:r>
              <a:rPr lang="en-US" b="0" i="0">
                <a:effectLst/>
                <a:latin typeface="__fkGroteskNeue_598ab8"/>
              </a:rPr>
              <a:t>Additionally, developing Management Plans help outline how we will mitigate any potential impacts identified during assessments. </a:t>
            </a:r>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5</a:t>
            </a:fld>
            <a:endParaRPr lang="en-US"/>
          </a:p>
        </p:txBody>
      </p:sp>
    </p:spTree>
    <p:extLst>
      <p:ext uri="{BB962C8B-B14F-4D97-AF65-F5344CB8AC3E}">
        <p14:creationId xmlns:p14="http://schemas.microsoft.com/office/powerpoint/2010/main" val="241901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Roboto"/>
                <a:ea typeface="Roboto"/>
                <a:cs typeface="Roboto"/>
              </a:rPr>
              <a:t>We prioritize projects and initiatives that bring long-term positive impacts, emphasizing our area of influence and aligned with our values and strategic pillars.</a:t>
            </a:r>
            <a:endParaRPr lang="en-US" sz="1800"/>
          </a:p>
          <a:p>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6</a:t>
            </a:fld>
            <a:endParaRPr lang="en-US"/>
          </a:p>
        </p:txBody>
      </p:sp>
    </p:spTree>
    <p:extLst>
      <p:ext uri="{BB962C8B-B14F-4D97-AF65-F5344CB8AC3E}">
        <p14:creationId xmlns:p14="http://schemas.microsoft.com/office/powerpoint/2010/main" val="396729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latin typeface="var(--font-fk-grotesk-neue)"/>
              </a:rPr>
              <a:t>Finally, education and skill development are critical components of our commitment to sustainable mining. We offer training programs aimed at equipping the local workforce with skills relevant to the mining industry, thereby enhancing employment opportunities within the community. </a:t>
            </a:r>
            <a:r>
              <a:rPr lang="en-US">
                <a:effectLst/>
              </a:rPr>
              <a:t>We have established a modern Technical Training Center purposed to upskill and reskill our workforce and community members so that they will be qualified to work for our projects now and in the future.</a:t>
            </a:r>
          </a:p>
          <a:p>
            <a:br>
              <a:rPr lang="en-US">
                <a:effectLst/>
              </a:rPr>
            </a:br>
            <a:endParaRPr lang="en-US"/>
          </a:p>
        </p:txBody>
      </p:sp>
      <p:sp>
        <p:nvSpPr>
          <p:cNvPr id="4" name="Slide Number Placeholder 3"/>
          <p:cNvSpPr>
            <a:spLocks noGrp="1"/>
          </p:cNvSpPr>
          <p:nvPr>
            <p:ph type="sldNum" sz="quarter" idx="5"/>
          </p:nvPr>
        </p:nvSpPr>
        <p:spPr/>
        <p:txBody>
          <a:bodyPr/>
          <a:lstStyle/>
          <a:p>
            <a:fld id="{72C88AFF-5601-4EBF-8FF4-65796F4F8545}" type="slidenum">
              <a:rPr lang="en-US" smtClean="0"/>
              <a:t>7</a:t>
            </a:fld>
            <a:endParaRPr lang="en-US"/>
          </a:p>
        </p:txBody>
      </p:sp>
    </p:spTree>
    <p:extLst>
      <p:ext uri="{BB962C8B-B14F-4D97-AF65-F5344CB8AC3E}">
        <p14:creationId xmlns:p14="http://schemas.microsoft.com/office/powerpoint/2010/main" val="143552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__fkGroteskNeue_598ab8"/>
              </a:rPr>
              <a:t>Innovative environmental practices are essential for minimizing our environmental footprint. This includes leveraging technology to manage waste and enhance resource efficiency throughout our operations. Additionally, we prioritize the rehabilitation of mined land</a:t>
            </a:r>
            <a:r>
              <a:rPr lang="el-GR" b="0" i="0">
                <a:effectLst/>
                <a:latin typeface="__fkGroteskNeue_598ab8"/>
              </a:rPr>
              <a:t> (</a:t>
            </a:r>
            <a:r>
              <a:rPr lang="en-US" b="0" i="0">
                <a:effectLst/>
                <a:latin typeface="__fkGroteskNeue_598ab8"/>
              </a:rPr>
              <a:t>Olympias clean-up of </a:t>
            </a:r>
            <a:r>
              <a:rPr lang="el-GR" b="0" i="0">
                <a:effectLst/>
                <a:latin typeface="__fkGroteskNeue_598ab8"/>
              </a:rPr>
              <a:t>4</a:t>
            </a:r>
            <a:r>
              <a:rPr lang="en-US" b="0" i="0">
                <a:effectLst/>
                <a:latin typeface="__fkGroteskNeue_598ab8"/>
              </a:rPr>
              <a:t>mil. </a:t>
            </a:r>
            <a:r>
              <a:rPr lang="en-US" b="0" i="0" err="1">
                <a:effectLst/>
                <a:latin typeface="__fkGroteskNeue_598ab8"/>
              </a:rPr>
              <a:t>tonnes</a:t>
            </a:r>
            <a:r>
              <a:rPr lang="en-US" b="0" i="0">
                <a:effectLst/>
                <a:latin typeface="__fkGroteskNeue_598ab8"/>
              </a:rPr>
              <a:t> from past tailings) using native species to restore ecosystems effectively (example of our nursery with 1 mil. local plants). </a:t>
            </a:r>
          </a:p>
          <a:p>
            <a:r>
              <a:rPr lang="en-US" b="0" i="0">
                <a:effectLst/>
                <a:latin typeface="__fkGroteskNeue_598ab8"/>
              </a:rPr>
              <a:t>At the same time we are operating one of the most extensive environmental monitoring programs in the country, with 500 stations inside and around our facilities to measure the status of the environment in 13 different parameters, </a:t>
            </a:r>
            <a:r>
              <a:rPr lang="en-US" b="0" i="0" err="1">
                <a:effectLst/>
                <a:latin typeface="__fkGroteskNeue_598ab8"/>
              </a:rPr>
              <a:t>ie</a:t>
            </a:r>
            <a:r>
              <a:rPr lang="en-US" b="0" i="0">
                <a:effectLst/>
                <a:latin typeface="__fkGroteskNeue_598ab8"/>
              </a:rPr>
              <a:t>. Water, dust, noise, vibration, biodiversity, etc.</a:t>
            </a:r>
          </a:p>
        </p:txBody>
      </p:sp>
      <p:sp>
        <p:nvSpPr>
          <p:cNvPr id="4" name="Slide Number Placeholder 3"/>
          <p:cNvSpPr>
            <a:spLocks noGrp="1"/>
          </p:cNvSpPr>
          <p:nvPr>
            <p:ph type="sldNum" sz="quarter" idx="5"/>
          </p:nvPr>
        </p:nvSpPr>
        <p:spPr/>
        <p:txBody>
          <a:bodyPr/>
          <a:lstStyle/>
          <a:p>
            <a:fld id="{72C88AFF-5601-4EBF-8FF4-65796F4F8545}" type="slidenum">
              <a:rPr lang="en-US" smtClean="0"/>
              <a:t>8</a:t>
            </a:fld>
            <a:endParaRPr lang="en-US"/>
          </a:p>
        </p:txBody>
      </p:sp>
    </p:spTree>
    <p:extLst>
      <p:ext uri="{BB962C8B-B14F-4D97-AF65-F5344CB8AC3E}">
        <p14:creationId xmlns:p14="http://schemas.microsoft.com/office/powerpoint/2010/main" val="1761962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FF275-F25A-78FB-6237-168D9A6D2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03F8F9-D3B0-B9DA-149F-8009FC210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F1DBA9-7CFF-C52B-68BD-666490BF01A3}"/>
              </a:ext>
            </a:extLst>
          </p:cNvPr>
          <p:cNvSpPr>
            <a:spLocks noGrp="1"/>
          </p:cNvSpPr>
          <p:nvPr>
            <p:ph type="body" idx="1"/>
          </p:nvPr>
        </p:nvSpPr>
        <p:spPr/>
        <p:txBody>
          <a:bodyPr/>
          <a:lstStyle/>
          <a:p>
            <a:r>
              <a:rPr lang="en-US" b="0" i="0">
                <a:effectLst/>
                <a:latin typeface="__fkGroteskNeue_598ab8"/>
              </a:rPr>
              <a:t>Innovative environmental practices are essential for minimizing our environmental footprint. This includes leveraging technology to manage waste and enhance resource efficiency throughout our operations. Additionally, we prioritize the rehabilitation of mined land</a:t>
            </a:r>
            <a:r>
              <a:rPr lang="el-GR" b="0" i="0">
                <a:effectLst/>
                <a:latin typeface="__fkGroteskNeue_598ab8"/>
              </a:rPr>
              <a:t> (</a:t>
            </a:r>
            <a:r>
              <a:rPr lang="en-US" b="0" i="0">
                <a:effectLst/>
                <a:latin typeface="__fkGroteskNeue_598ab8"/>
              </a:rPr>
              <a:t>Olympias clean-up of </a:t>
            </a:r>
            <a:r>
              <a:rPr lang="el-GR" b="0" i="0">
                <a:effectLst/>
                <a:latin typeface="__fkGroteskNeue_598ab8"/>
              </a:rPr>
              <a:t>4</a:t>
            </a:r>
            <a:r>
              <a:rPr lang="en-US" b="0" i="0">
                <a:effectLst/>
                <a:latin typeface="__fkGroteskNeue_598ab8"/>
              </a:rPr>
              <a:t>mil. </a:t>
            </a:r>
            <a:r>
              <a:rPr lang="en-US" b="0" i="0" err="1">
                <a:effectLst/>
                <a:latin typeface="__fkGroteskNeue_598ab8"/>
              </a:rPr>
              <a:t>tonnes</a:t>
            </a:r>
            <a:r>
              <a:rPr lang="en-US" b="0" i="0">
                <a:effectLst/>
                <a:latin typeface="__fkGroteskNeue_598ab8"/>
              </a:rPr>
              <a:t> from past tailings) using native species to restore ecosystems effectively (example of our nursery with 1 mil. local plants). </a:t>
            </a:r>
          </a:p>
          <a:p>
            <a:r>
              <a:rPr lang="en-US" b="0" i="0">
                <a:effectLst/>
                <a:latin typeface="__fkGroteskNeue_598ab8"/>
              </a:rPr>
              <a:t>At the same time we are operating one of the most extensive environmental monitoring programs in the country, with 500 stations inside and around our facilities to measure the status of the environment in 13 different parameters, </a:t>
            </a:r>
            <a:r>
              <a:rPr lang="en-US" b="0" i="0" err="1">
                <a:effectLst/>
                <a:latin typeface="__fkGroteskNeue_598ab8"/>
              </a:rPr>
              <a:t>ie</a:t>
            </a:r>
            <a:r>
              <a:rPr lang="en-US" b="0" i="0">
                <a:effectLst/>
                <a:latin typeface="__fkGroteskNeue_598ab8"/>
              </a:rPr>
              <a:t>. Water, dust, noise, vibration, biodiversity, etc.</a:t>
            </a:r>
          </a:p>
        </p:txBody>
      </p:sp>
      <p:sp>
        <p:nvSpPr>
          <p:cNvPr id="4" name="Slide Number Placeholder 3">
            <a:extLst>
              <a:ext uri="{FF2B5EF4-FFF2-40B4-BE49-F238E27FC236}">
                <a16:creationId xmlns:a16="http://schemas.microsoft.com/office/drawing/2014/main" id="{2D8669BD-1679-2817-C161-86939C930478}"/>
              </a:ext>
            </a:extLst>
          </p:cNvPr>
          <p:cNvSpPr>
            <a:spLocks noGrp="1"/>
          </p:cNvSpPr>
          <p:nvPr>
            <p:ph type="sldNum" sz="quarter" idx="5"/>
          </p:nvPr>
        </p:nvSpPr>
        <p:spPr/>
        <p:txBody>
          <a:bodyPr/>
          <a:lstStyle/>
          <a:p>
            <a:fld id="{72C88AFF-5601-4EBF-8FF4-65796F4F8545}" type="slidenum">
              <a:rPr lang="en-US" smtClean="0"/>
              <a:t>9</a:t>
            </a:fld>
            <a:endParaRPr lang="en-US"/>
          </a:p>
        </p:txBody>
      </p:sp>
    </p:spTree>
    <p:extLst>
      <p:ext uri="{BB962C8B-B14F-4D97-AF65-F5344CB8AC3E}">
        <p14:creationId xmlns:p14="http://schemas.microsoft.com/office/powerpoint/2010/main" val="3757791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67B78F-2B8A-AF47-26EB-CAF8D058B4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B5CFBF-68DE-AEC6-3758-673C95337E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5A06B-C233-4158-F587-33F20A1ABB13}"/>
              </a:ext>
            </a:extLst>
          </p:cNvPr>
          <p:cNvSpPr>
            <a:spLocks noGrp="1"/>
          </p:cNvSpPr>
          <p:nvPr>
            <p:ph type="body" idx="1"/>
          </p:nvPr>
        </p:nvSpPr>
        <p:spPr/>
        <p:txBody>
          <a:bodyPr/>
          <a:lstStyle/>
          <a:p>
            <a:r>
              <a:rPr lang="en-US" b="0" i="0">
                <a:effectLst/>
                <a:latin typeface="__fkGroteskNeue_598ab8"/>
              </a:rPr>
              <a:t>Innovative environmental practices are essential for minimizing our environmental footprint. This includes leveraging technology to manage waste and enhance resource efficiency throughout our operations. Additionally, we prioritize the rehabilitation of mined land</a:t>
            </a:r>
            <a:r>
              <a:rPr lang="el-GR" b="0" i="0">
                <a:effectLst/>
                <a:latin typeface="__fkGroteskNeue_598ab8"/>
              </a:rPr>
              <a:t> (</a:t>
            </a:r>
            <a:r>
              <a:rPr lang="en-US" b="0" i="0">
                <a:effectLst/>
                <a:latin typeface="__fkGroteskNeue_598ab8"/>
              </a:rPr>
              <a:t>Olympias clean-up of </a:t>
            </a:r>
            <a:r>
              <a:rPr lang="el-GR" b="0" i="0">
                <a:effectLst/>
                <a:latin typeface="__fkGroteskNeue_598ab8"/>
              </a:rPr>
              <a:t>4</a:t>
            </a:r>
            <a:r>
              <a:rPr lang="en-US" b="0" i="0">
                <a:effectLst/>
                <a:latin typeface="__fkGroteskNeue_598ab8"/>
              </a:rPr>
              <a:t>mil. </a:t>
            </a:r>
            <a:r>
              <a:rPr lang="en-US" b="0" i="0" err="1">
                <a:effectLst/>
                <a:latin typeface="__fkGroteskNeue_598ab8"/>
              </a:rPr>
              <a:t>tonnes</a:t>
            </a:r>
            <a:r>
              <a:rPr lang="en-US" b="0" i="0">
                <a:effectLst/>
                <a:latin typeface="__fkGroteskNeue_598ab8"/>
              </a:rPr>
              <a:t> from past tailings) using native species to restore ecosystems effectively (example of our nursery with 1 mil. local plants). </a:t>
            </a:r>
          </a:p>
          <a:p>
            <a:r>
              <a:rPr lang="en-US" b="0" i="0">
                <a:effectLst/>
                <a:latin typeface="__fkGroteskNeue_598ab8"/>
              </a:rPr>
              <a:t>At the same time we are operating one of the most extensive environmental monitoring programs in the country, with 500 stations inside and around our facilities to measure the status of the environment in 13 different parameters, </a:t>
            </a:r>
            <a:r>
              <a:rPr lang="en-US" b="0" i="0" err="1">
                <a:effectLst/>
                <a:latin typeface="__fkGroteskNeue_598ab8"/>
              </a:rPr>
              <a:t>ie</a:t>
            </a:r>
            <a:r>
              <a:rPr lang="en-US" b="0" i="0">
                <a:effectLst/>
                <a:latin typeface="__fkGroteskNeue_598ab8"/>
              </a:rPr>
              <a:t>. Water, dust, noise, vibration, biodiversity, etc.</a:t>
            </a:r>
          </a:p>
        </p:txBody>
      </p:sp>
      <p:sp>
        <p:nvSpPr>
          <p:cNvPr id="4" name="Slide Number Placeholder 3">
            <a:extLst>
              <a:ext uri="{FF2B5EF4-FFF2-40B4-BE49-F238E27FC236}">
                <a16:creationId xmlns:a16="http://schemas.microsoft.com/office/drawing/2014/main" id="{EDAC462D-88AC-E312-61CD-313E8FC0C6EE}"/>
              </a:ext>
            </a:extLst>
          </p:cNvPr>
          <p:cNvSpPr>
            <a:spLocks noGrp="1"/>
          </p:cNvSpPr>
          <p:nvPr>
            <p:ph type="sldNum" sz="quarter" idx="5"/>
          </p:nvPr>
        </p:nvSpPr>
        <p:spPr/>
        <p:txBody>
          <a:bodyPr/>
          <a:lstStyle/>
          <a:p>
            <a:fld id="{72C88AFF-5601-4EBF-8FF4-65796F4F8545}" type="slidenum">
              <a:rPr lang="en-US" smtClean="0"/>
              <a:t>10</a:t>
            </a:fld>
            <a:endParaRPr lang="en-US"/>
          </a:p>
        </p:txBody>
      </p:sp>
    </p:spTree>
    <p:extLst>
      <p:ext uri="{BB962C8B-B14F-4D97-AF65-F5344CB8AC3E}">
        <p14:creationId xmlns:p14="http://schemas.microsoft.com/office/powerpoint/2010/main" val="16959041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427805" y="-66840"/>
            <a:ext cx="6992007" cy="6991680"/>
          </a:xfrm>
          <a:prstGeom prst="ellipse">
            <a:avLst/>
          </a:prstGeom>
        </p:spPr>
        <p:txBody>
          <a:bodyPr/>
          <a:lstStyle>
            <a:lvl1pPr marL="0" indent="0">
              <a:buNone/>
              <a:defRPr sz="1600"/>
            </a:lvl1pPr>
          </a:lstStyle>
          <a:p>
            <a:endParaRPr lang="en-GB"/>
          </a:p>
        </p:txBody>
      </p:sp>
      <p:sp>
        <p:nvSpPr>
          <p:cNvPr id="15" name="Image_Border"/>
          <p:cNvSpPr/>
          <p:nvPr userDrawn="1"/>
        </p:nvSpPr>
        <p:spPr>
          <a:xfrm>
            <a:off x="5926335" y="-568030"/>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386690" y="4374789"/>
            <a:ext cx="4679589" cy="432048"/>
          </a:xfrm>
          <a:prstGeom prst="rect">
            <a:avLst/>
          </a:prstGeom>
        </p:spPr>
        <p:txBody>
          <a:bodyPr lIns="0" rIns="0"/>
          <a:lstStyle>
            <a:lvl1pPr marL="0" indent="0" algn="l">
              <a:spcBef>
                <a:spcPts val="0"/>
              </a:spcBef>
              <a:buNone/>
              <a:defRPr sz="2400" baseline="0">
                <a:solidFill>
                  <a:schemeClr val="tx2"/>
                </a:solidFill>
                <a:latin typeface="Calibri" pitchFamily="34" charset="0"/>
              </a:defRPr>
            </a:lvl1pPr>
          </a:lstStyle>
          <a:p>
            <a:pPr lvl="0"/>
            <a:r>
              <a:rPr lang="en-US"/>
              <a:t>Speaker Name| </a:t>
            </a:r>
            <a:r>
              <a:rPr lang="en-US" err="1"/>
              <a:t>Organisation</a:t>
            </a:r>
            <a:endParaRPr lang="en-GB"/>
          </a:p>
        </p:txBody>
      </p:sp>
      <p:sp>
        <p:nvSpPr>
          <p:cNvPr id="8" name="Title 7"/>
          <p:cNvSpPr>
            <a:spLocks noGrp="1"/>
          </p:cNvSpPr>
          <p:nvPr>
            <p:ph type="title"/>
            <p:custDataLst>
              <p:tags r:id="rId1"/>
            </p:custDataLst>
          </p:nvPr>
        </p:nvSpPr>
        <p:spPr bwMode="auto">
          <a:xfrm>
            <a:off x="386690" y="2345318"/>
            <a:ext cx="4704523" cy="134614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4000" b="0"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Click to edit Master title</a:t>
            </a:r>
          </a:p>
        </p:txBody>
      </p:sp>
      <p:sp>
        <p:nvSpPr>
          <p:cNvPr id="10" name="FooterText Manuell">
            <a:extLst>
              <a:ext uri="{FF2B5EF4-FFF2-40B4-BE49-F238E27FC236}">
                <a16:creationId xmlns:a16="http://schemas.microsoft.com/office/drawing/2014/main" id="{85A5C8D3-EF02-3C59-E461-6E6BD3DB0E5C}"/>
              </a:ext>
            </a:extLst>
          </p:cNvPr>
          <p:cNvSpPr txBox="1">
            <a:spLocks/>
          </p:cNvSpPr>
          <p:nvPr userDrawn="1"/>
        </p:nvSpPr>
        <p:spPr>
          <a:xfrm>
            <a:off x="130421" y="1160765"/>
            <a:ext cx="5965579" cy="1002460"/>
          </a:xfrm>
          <a:prstGeom prst="rect">
            <a:avLst/>
          </a:prstGeom>
        </p:spPr>
        <p:txBody>
          <a:bodyPr lIns="0" rIns="0" anchor="ctr"/>
          <a:lstStyle>
            <a:lvl1pPr marL="0" indent="0" algn="l" defTabSz="914400" rtl="0" eaLnBrk="1" latinLnBrk="0" hangingPunct="1">
              <a:lnSpc>
                <a:spcPct val="150000"/>
              </a:lnSpc>
              <a:spcBef>
                <a:spcPts val="0"/>
              </a:spcBef>
              <a:buFont typeface="Arial" pitchFamily="34" charset="0"/>
              <a:buNone/>
              <a:defRPr sz="2800" kern="1200" baseline="30000">
                <a:solidFill>
                  <a:schemeClr val="tx2"/>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600" b="1"/>
              <a:t>9th Greek Raw Materials Community Dialogue</a:t>
            </a:r>
            <a:endParaRPr lang="en-GB" sz="3600" b="1"/>
          </a:p>
        </p:txBody>
      </p:sp>
    </p:spTree>
    <p:extLst>
      <p:ext uri="{BB962C8B-B14F-4D97-AF65-F5344CB8AC3E}">
        <p14:creationId xmlns:p14="http://schemas.microsoft.com/office/powerpoint/2010/main" val="205746697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2 Images">
    <p:spTree>
      <p:nvGrpSpPr>
        <p:cNvPr id="1" name=""/>
        <p:cNvGrpSpPr/>
        <p:nvPr/>
      </p:nvGrpSpPr>
      <p:grpSpPr>
        <a:xfrm>
          <a:off x="0" y="0"/>
          <a:ext cx="0" cy="0"/>
          <a:chOff x="0" y="0"/>
          <a:chExt cx="0" cy="0"/>
        </a:xfrm>
      </p:grpSpPr>
      <p:sp>
        <p:nvSpPr>
          <p:cNvPr id="8" name="Picture Placeholder 24">
            <a:extLst>
              <a:ext uri="{FF2B5EF4-FFF2-40B4-BE49-F238E27FC236}">
                <a16:creationId xmlns:a16="http://schemas.microsoft.com/office/drawing/2014/main" id="{231FA672-8DC0-A841-81EC-7A561356068E}"/>
              </a:ext>
            </a:extLst>
          </p:cNvPr>
          <p:cNvSpPr>
            <a:spLocks noGrp="1"/>
          </p:cNvSpPr>
          <p:nvPr>
            <p:ph type="pic" sz="quarter" idx="17"/>
          </p:nvPr>
        </p:nvSpPr>
        <p:spPr>
          <a:xfrm>
            <a:off x="4940135" y="1080000"/>
            <a:ext cx="6891865" cy="4392613"/>
          </a:xfrm>
          <a:prstGeom prst="round2DiagRect">
            <a:avLst>
              <a:gd name="adj1" fmla="val 0"/>
              <a:gd name="adj2" fmla="val 11563"/>
            </a:avLst>
          </a:prstGeom>
        </p:spPr>
        <p:txBody>
          <a:bodyPr/>
          <a:lstStyle>
            <a:lvl1pPr marL="0" indent="0">
              <a:buNone/>
              <a:defRPr sz="1600"/>
            </a:lvl1pPr>
          </a:lstStyle>
          <a:p>
            <a:r>
              <a:rPr lang="en-US"/>
              <a:t>Click icon to add picture</a:t>
            </a:r>
            <a:endParaRPr lang="en-GB"/>
          </a:p>
        </p:txBody>
      </p:sp>
      <p:sp>
        <p:nvSpPr>
          <p:cNvPr id="11" name="Text Placeholder 4">
            <a:extLst>
              <a:ext uri="{FF2B5EF4-FFF2-40B4-BE49-F238E27FC236}">
                <a16:creationId xmlns:a16="http://schemas.microsoft.com/office/drawing/2014/main" id="{13D474D7-6227-BA45-8AC5-941C9D2E1211}"/>
              </a:ext>
            </a:extLst>
          </p:cNvPr>
          <p:cNvSpPr>
            <a:spLocks noGrp="1"/>
          </p:cNvSpPr>
          <p:nvPr>
            <p:ph type="body" sz="quarter" idx="19" hasCustomPrompt="1"/>
          </p:nvPr>
        </p:nvSpPr>
        <p:spPr>
          <a:xfrm>
            <a:off x="360000" y="1080000"/>
            <a:ext cx="4303052" cy="439309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Title Placeholder 2">
            <a:extLst>
              <a:ext uri="{FF2B5EF4-FFF2-40B4-BE49-F238E27FC236}">
                <a16:creationId xmlns:a16="http://schemas.microsoft.com/office/drawing/2014/main" id="{F665378E-6161-1B18-F57E-F824E3A7CD75}"/>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4" name="Slide Number Placeholder 3">
            <a:extLst>
              <a:ext uri="{FF2B5EF4-FFF2-40B4-BE49-F238E27FC236}">
                <a16:creationId xmlns:a16="http://schemas.microsoft.com/office/drawing/2014/main" id="{7BB05573-B505-0078-47A6-FF58B6DDD720}"/>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3571739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mp; 2 Landscape Images">
    <p:spTree>
      <p:nvGrpSpPr>
        <p:cNvPr id="1" name=""/>
        <p:cNvGrpSpPr/>
        <p:nvPr/>
      </p:nvGrpSpPr>
      <p:grpSpPr>
        <a:xfrm>
          <a:off x="0" y="0"/>
          <a:ext cx="0" cy="0"/>
          <a:chOff x="0" y="0"/>
          <a:chExt cx="0" cy="0"/>
        </a:xfrm>
      </p:grpSpPr>
      <p:sp>
        <p:nvSpPr>
          <p:cNvPr id="6" name="Picture Placeholder 24">
            <a:extLst>
              <a:ext uri="{FF2B5EF4-FFF2-40B4-BE49-F238E27FC236}">
                <a16:creationId xmlns:a16="http://schemas.microsoft.com/office/drawing/2014/main" id="{F385C438-0C43-6D41-9534-718561355673}"/>
              </a:ext>
            </a:extLst>
          </p:cNvPr>
          <p:cNvSpPr>
            <a:spLocks noGrp="1"/>
          </p:cNvSpPr>
          <p:nvPr>
            <p:ph type="pic" sz="quarter" idx="16"/>
          </p:nvPr>
        </p:nvSpPr>
        <p:spPr>
          <a:xfrm>
            <a:off x="7213600" y="1079999"/>
            <a:ext cx="4588932" cy="2114613"/>
          </a:xfrm>
          <a:prstGeom prst="round2DiagRect">
            <a:avLst>
              <a:gd name="adj1" fmla="val 0"/>
              <a:gd name="adj2" fmla="val 16921"/>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175243E-4B0F-8B42-8CA3-4E165AAB9E73}"/>
              </a:ext>
            </a:extLst>
          </p:cNvPr>
          <p:cNvSpPr>
            <a:spLocks noGrp="1"/>
          </p:cNvSpPr>
          <p:nvPr>
            <p:ph type="body" sz="quarter" idx="18" hasCustomPrompt="1"/>
          </p:nvPr>
        </p:nvSpPr>
        <p:spPr>
          <a:xfrm>
            <a:off x="360000" y="1080000"/>
            <a:ext cx="646906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9" name="Picture Placeholder 24">
            <a:extLst>
              <a:ext uri="{FF2B5EF4-FFF2-40B4-BE49-F238E27FC236}">
                <a16:creationId xmlns:a16="http://schemas.microsoft.com/office/drawing/2014/main" id="{9047C6F4-DCEB-554F-A021-BED6233D2D8C}"/>
              </a:ext>
            </a:extLst>
          </p:cNvPr>
          <p:cNvSpPr>
            <a:spLocks noGrp="1"/>
          </p:cNvSpPr>
          <p:nvPr>
            <p:ph type="pic" sz="quarter" idx="19"/>
          </p:nvPr>
        </p:nvSpPr>
        <p:spPr>
          <a:xfrm>
            <a:off x="7213600" y="3357995"/>
            <a:ext cx="4588932" cy="2114613"/>
          </a:xfrm>
          <a:prstGeom prst="round2DiagRect">
            <a:avLst>
              <a:gd name="adj1" fmla="val 0"/>
              <a:gd name="adj2" fmla="val 15041"/>
            </a:avLst>
          </a:prstGeom>
        </p:spPr>
        <p:txBody>
          <a:bodyPr/>
          <a:lstStyle>
            <a:lvl1pPr marL="0" indent="0">
              <a:buNone/>
              <a:defRPr sz="1600"/>
            </a:lvl1pPr>
          </a:lstStyle>
          <a:p>
            <a:r>
              <a:rPr lang="en-US"/>
              <a:t>Click icon to add picture</a:t>
            </a:r>
            <a:endParaRPr lang="en-GB"/>
          </a:p>
        </p:txBody>
      </p:sp>
      <p:sp>
        <p:nvSpPr>
          <p:cNvPr id="3" name="Title Placeholder 2">
            <a:extLst>
              <a:ext uri="{FF2B5EF4-FFF2-40B4-BE49-F238E27FC236}">
                <a16:creationId xmlns:a16="http://schemas.microsoft.com/office/drawing/2014/main" id="{3A4707C4-62D5-A12D-A26D-A968CF8D15F5}"/>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4" name="Slide Number Placeholder 3">
            <a:extLst>
              <a:ext uri="{FF2B5EF4-FFF2-40B4-BE49-F238E27FC236}">
                <a16:creationId xmlns:a16="http://schemas.microsoft.com/office/drawing/2014/main" id="{5723FC70-053C-3AA4-0281-D4A4A0C4910C}"/>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1432136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4514409C-FC26-A09F-BEBF-63FEAD4C04F6}"/>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39135384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60403" y="1181100"/>
            <a:ext cx="10871197" cy="5029200"/>
          </a:xfrm>
        </p:spPr>
        <p:txBody>
          <a:bodyPr/>
          <a:lstStyle>
            <a:lvl1pPr>
              <a:defRPr sz="1867"/>
            </a:lvl1pPr>
            <a:lvl2pPr>
              <a:defRPr sz="1600"/>
            </a:lvl2pPr>
            <a:lvl3pPr>
              <a:defRPr sz="1400"/>
            </a:lvl3pPr>
            <a:lvl4pPr>
              <a:defRPr sz="1133"/>
            </a:lvl4pPr>
            <a:lvl5pPr>
              <a:defRPr sz="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660403" y="284922"/>
            <a:ext cx="10871200" cy="725557"/>
          </a:xfrm>
          <a:prstGeom prst="rect">
            <a:avLst/>
          </a:prstGeom>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98746780-4E29-98C3-F9E0-C56DA6632A76}"/>
              </a:ext>
            </a:extLst>
          </p:cNvPr>
          <p:cNvSpPr>
            <a:spLocks noGrp="1"/>
          </p:cNvSpPr>
          <p:nvPr>
            <p:ph type="sldNum" sz="quarter" idx="10"/>
          </p:nvPr>
        </p:nvSpPr>
        <p:spPr>
          <a:xfrm>
            <a:off x="11369677" y="6435725"/>
            <a:ext cx="569913" cy="293688"/>
          </a:xfrm>
        </p:spPr>
        <p:txBody>
          <a:bodyPr/>
          <a:lstStyle>
            <a:lvl1pPr algn="r">
              <a:defRPr sz="900" smtClean="0">
                <a:solidFill>
                  <a:schemeClr val="tx1"/>
                </a:solidFill>
              </a:defRPr>
            </a:lvl1pPr>
          </a:lstStyle>
          <a:p>
            <a:pPr>
              <a:defRPr/>
            </a:pPr>
            <a:fld id="{65C4F754-80FF-4538-883F-C84553F217C3}" type="slidenum">
              <a:rPr lang="en-US"/>
              <a:pPr>
                <a:defRPr/>
              </a:pPr>
              <a:t>‹#›</a:t>
            </a:fld>
            <a:endParaRPr lang="en-US"/>
          </a:p>
        </p:txBody>
      </p:sp>
    </p:spTree>
    <p:extLst>
      <p:ext uri="{BB962C8B-B14F-4D97-AF65-F5344CB8AC3E}">
        <p14:creationId xmlns:p14="http://schemas.microsoft.com/office/powerpoint/2010/main" val="24474092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2" y="1181100"/>
            <a:ext cx="10871197" cy="5029200"/>
          </a:xfrm>
        </p:spPr>
        <p:txBody>
          <a:bodyPr/>
          <a:lstStyle>
            <a:lvl1pPr>
              <a:defRPr sz="1400"/>
            </a:lvl1pPr>
            <a:lvl2pPr>
              <a:defRPr sz="1200"/>
            </a:lvl2pPr>
            <a:lvl3pPr>
              <a:defRPr sz="1050"/>
            </a:lvl3pPr>
            <a:lvl4pPr>
              <a:defRPr sz="850"/>
            </a:lvl4pPr>
            <a:lvl5pPr>
              <a:defRPr sz="6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05652C95-74BE-1D3F-289A-EC15CBE136FD}"/>
              </a:ext>
            </a:extLst>
          </p:cNvPr>
          <p:cNvSpPr>
            <a:spLocks noGrp="1"/>
          </p:cNvSpPr>
          <p:nvPr>
            <p:ph type="sldNum" sz="quarter" idx="10"/>
          </p:nvPr>
        </p:nvSpPr>
        <p:spPr>
          <a:xfrm>
            <a:off x="11279188" y="6407150"/>
            <a:ext cx="569912" cy="295275"/>
          </a:xfrm>
        </p:spPr>
        <p:txBody>
          <a:bodyPr/>
          <a:lstStyle>
            <a:lvl1pPr algn="r">
              <a:defRPr sz="1100" smtClean="0">
                <a:solidFill>
                  <a:schemeClr val="tx1"/>
                </a:solidFill>
              </a:defRPr>
            </a:lvl1pPr>
          </a:lstStyle>
          <a:p>
            <a:pPr>
              <a:defRPr/>
            </a:pPr>
            <a:fld id="{6F9F414D-1880-4623-94AF-1486C126E72E}" type="slidenum">
              <a:rPr lang="en-US"/>
              <a:pPr>
                <a:defRPr/>
              </a:pPr>
              <a:t>‹#›</a:t>
            </a:fld>
            <a:endParaRPr lang="en-US"/>
          </a:p>
        </p:txBody>
      </p:sp>
    </p:spTree>
    <p:extLst>
      <p:ext uri="{BB962C8B-B14F-4D97-AF65-F5344CB8AC3E}">
        <p14:creationId xmlns:p14="http://schemas.microsoft.com/office/powerpoint/2010/main" val="1041012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2148"/>
        <p:cNvGrpSpPr/>
        <p:nvPr/>
      </p:nvGrpSpPr>
      <p:grpSpPr>
        <a:xfrm>
          <a:off x="0" y="0"/>
          <a:ext cx="0" cy="0"/>
          <a:chOff x="0" y="0"/>
          <a:chExt cx="0" cy="0"/>
        </a:xfrm>
      </p:grpSpPr>
      <p:sp>
        <p:nvSpPr>
          <p:cNvPr id="2149" name="Google Shape;2149;p351"/>
          <p:cNvSpPr txBox="1">
            <a:spLocks noGrp="1"/>
          </p:cNvSpPr>
          <p:nvPr>
            <p:ph type="body" idx="1"/>
          </p:nvPr>
        </p:nvSpPr>
        <p:spPr>
          <a:xfrm>
            <a:off x="4429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50" name="Google Shape;2150;p351"/>
          <p:cNvSpPr txBox="1">
            <a:spLocks noGrp="1"/>
          </p:cNvSpPr>
          <p:nvPr>
            <p:ph type="body" idx="2"/>
          </p:nvPr>
        </p:nvSpPr>
        <p:spPr>
          <a:xfrm>
            <a:off x="33606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51" name="Google Shape;2151;p351"/>
          <p:cNvSpPr txBox="1">
            <a:spLocks noGrp="1"/>
          </p:cNvSpPr>
          <p:nvPr>
            <p:ph type="body" idx="3"/>
          </p:nvPr>
        </p:nvSpPr>
        <p:spPr>
          <a:xfrm>
            <a:off x="6275388"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52" name="Google Shape;2152;p351"/>
          <p:cNvSpPr txBox="1">
            <a:spLocks noGrp="1"/>
          </p:cNvSpPr>
          <p:nvPr>
            <p:ph type="body" idx="4"/>
          </p:nvPr>
        </p:nvSpPr>
        <p:spPr>
          <a:xfrm>
            <a:off x="919016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53" name="Google Shape;2153;p351"/>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lgn="l" rtl="0">
              <a:lnSpc>
                <a:spcPct val="100000"/>
              </a:lnSpc>
              <a:spcBef>
                <a:spcPts val="0"/>
              </a:spcBef>
              <a:spcAft>
                <a:spcPts val="0"/>
              </a:spcAft>
              <a:buSzPts val="1500"/>
              <a:buNone/>
              <a:defRPr sz="1900"/>
            </a:lvl2pPr>
            <a:lvl3pPr lvl="2" algn="l" rtl="0">
              <a:lnSpc>
                <a:spcPct val="100000"/>
              </a:lnSpc>
              <a:spcBef>
                <a:spcPts val="0"/>
              </a:spcBef>
              <a:spcAft>
                <a:spcPts val="0"/>
              </a:spcAft>
              <a:buSzPts val="1500"/>
              <a:buNone/>
              <a:defRPr sz="1900"/>
            </a:lvl3pPr>
            <a:lvl4pPr lvl="3" algn="l" rtl="0">
              <a:lnSpc>
                <a:spcPct val="100000"/>
              </a:lnSpc>
              <a:spcBef>
                <a:spcPts val="0"/>
              </a:spcBef>
              <a:spcAft>
                <a:spcPts val="0"/>
              </a:spcAft>
              <a:buSzPts val="1500"/>
              <a:buNone/>
              <a:defRPr sz="1900"/>
            </a:lvl4pPr>
            <a:lvl5pPr lvl="4" algn="l" rtl="0">
              <a:lnSpc>
                <a:spcPct val="100000"/>
              </a:lnSpc>
              <a:spcBef>
                <a:spcPts val="0"/>
              </a:spcBef>
              <a:spcAft>
                <a:spcPts val="0"/>
              </a:spcAft>
              <a:buSzPts val="1500"/>
              <a:buNone/>
              <a:defRPr sz="1900"/>
            </a:lvl5pPr>
            <a:lvl6pPr lvl="5" algn="l" rtl="0">
              <a:lnSpc>
                <a:spcPct val="100000"/>
              </a:lnSpc>
              <a:spcBef>
                <a:spcPts val="0"/>
              </a:spcBef>
              <a:spcAft>
                <a:spcPts val="0"/>
              </a:spcAft>
              <a:buSzPts val="1500"/>
              <a:buNone/>
              <a:defRPr sz="1900"/>
            </a:lvl6pPr>
            <a:lvl7pPr lvl="6" algn="l" rtl="0">
              <a:lnSpc>
                <a:spcPct val="100000"/>
              </a:lnSpc>
              <a:spcBef>
                <a:spcPts val="0"/>
              </a:spcBef>
              <a:spcAft>
                <a:spcPts val="0"/>
              </a:spcAft>
              <a:buSzPts val="1500"/>
              <a:buNone/>
              <a:defRPr sz="1900"/>
            </a:lvl7pPr>
            <a:lvl8pPr lvl="7" algn="l" rtl="0">
              <a:lnSpc>
                <a:spcPct val="100000"/>
              </a:lnSpc>
              <a:spcBef>
                <a:spcPts val="0"/>
              </a:spcBef>
              <a:spcAft>
                <a:spcPts val="0"/>
              </a:spcAft>
              <a:buSzPts val="1500"/>
              <a:buNone/>
              <a:defRPr sz="1900"/>
            </a:lvl8pPr>
            <a:lvl9pPr lvl="8" algn="l" rtl="0">
              <a:lnSpc>
                <a:spcPct val="100000"/>
              </a:lnSpc>
              <a:spcBef>
                <a:spcPts val="0"/>
              </a:spcBef>
              <a:spcAft>
                <a:spcPts val="0"/>
              </a:spcAft>
              <a:buSzPts val="1500"/>
              <a:buNone/>
              <a:defRPr sz="1900"/>
            </a:lvl9pPr>
          </a:lstStyle>
          <a:p>
            <a:endParaRPr/>
          </a:p>
        </p:txBody>
      </p:sp>
      <p:sp>
        <p:nvSpPr>
          <p:cNvPr id="2154" name="Google Shape;2154;p351"/>
          <p:cNvSpPr txBox="1">
            <a:spLocks noGrp="1"/>
          </p:cNvSpPr>
          <p:nvPr>
            <p:ph type="sldNum" idx="12"/>
          </p:nvPr>
        </p:nvSpPr>
        <p:spPr>
          <a:xfrm>
            <a:off x="708383" y="6448860"/>
            <a:ext cx="10775159" cy="169898"/>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774737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3F305D1-7D68-FE45-A416-E3011BC569F1}"/>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4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Slide Number Placeholder 2">
            <a:extLst>
              <a:ext uri="{FF2B5EF4-FFF2-40B4-BE49-F238E27FC236}">
                <a16:creationId xmlns:a16="http://schemas.microsoft.com/office/drawing/2014/main" id="{EA417759-722B-4E4A-8C5F-88BF94B76CC9}"/>
              </a:ext>
            </a:extLst>
          </p:cNvPr>
          <p:cNvSpPr>
            <a:spLocks noGrp="1"/>
          </p:cNvSpPr>
          <p:nvPr>
            <p:ph type="sldNum" sz="quarter" idx="19"/>
          </p:nvPr>
        </p:nvSpPr>
        <p:spPr/>
        <p:txBody>
          <a:bodyPr/>
          <a:lstStyle/>
          <a:p>
            <a:fld id="{28A3D32B-9EE4-634E-8394-5B7C42BAEC12}" type="slidenum">
              <a:rPr lang="en-US" smtClean="0"/>
              <a:pPr/>
              <a:t>‹#›</a:t>
            </a:fld>
            <a:endParaRPr lang="en-US">
              <a:solidFill>
                <a:schemeClr val="bg1"/>
              </a:solidFill>
            </a:endParaRPr>
          </a:p>
        </p:txBody>
      </p:sp>
      <p:sp>
        <p:nvSpPr>
          <p:cNvPr id="4" name="Title Placeholder 2">
            <a:extLst>
              <a:ext uri="{FF2B5EF4-FFF2-40B4-BE49-F238E27FC236}">
                <a16:creationId xmlns:a16="http://schemas.microsoft.com/office/drawing/2014/main" id="{1977D43F-6713-5082-37DF-BA6F34061090}"/>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Tree>
    <p:extLst>
      <p:ext uri="{BB962C8B-B14F-4D97-AF65-F5344CB8AC3E}">
        <p14:creationId xmlns:p14="http://schemas.microsoft.com/office/powerpoint/2010/main" val="1591314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4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Slide Number Placeholder 2">
            <a:extLst>
              <a:ext uri="{FF2B5EF4-FFF2-40B4-BE49-F238E27FC236}">
                <a16:creationId xmlns:a16="http://schemas.microsoft.com/office/drawing/2014/main" id="{F8D3195D-5C31-EC46-8F9A-7C1E17F55679}"/>
              </a:ext>
            </a:extLst>
          </p:cNvPr>
          <p:cNvSpPr>
            <a:spLocks noGrp="1"/>
          </p:cNvSpPr>
          <p:nvPr>
            <p:ph type="sldNum" sz="quarter" idx="19"/>
          </p:nvPr>
        </p:nvSpPr>
        <p:spPr/>
        <p:txBody>
          <a:bodyPr/>
          <a:lstStyle/>
          <a:p>
            <a:fld id="{28A3D32B-9EE4-634E-8394-5B7C42BAEC12}" type="slidenum">
              <a:rPr lang="en-US" smtClean="0"/>
              <a:pPr/>
              <a:t>‹#›</a:t>
            </a:fld>
            <a:endParaRPr lang="en-US">
              <a:solidFill>
                <a:schemeClr val="bg1"/>
              </a:solidFill>
            </a:endParaRPr>
          </a:p>
        </p:txBody>
      </p:sp>
      <p:sp>
        <p:nvSpPr>
          <p:cNvPr id="4" name="Title Placeholder 2">
            <a:extLst>
              <a:ext uri="{FF2B5EF4-FFF2-40B4-BE49-F238E27FC236}">
                <a16:creationId xmlns:a16="http://schemas.microsoft.com/office/drawing/2014/main" id="{7E9628EB-6EFC-D06F-AAB0-FB84F1A73B34}"/>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a:defRPr>
                <a:solidFill>
                  <a:schemeClr val="bg1"/>
                </a:solidFill>
              </a:defRPr>
            </a:lvl1pPr>
          </a:lstStyle>
          <a:p>
            <a:pPr marL="0" lvl="0" indent="0">
              <a:lnSpc>
                <a:spcPct val="100000"/>
              </a:lnSpc>
              <a:spcBef>
                <a:spcPct val="20000"/>
              </a:spcBef>
              <a:spcAft>
                <a:spcPts val="0"/>
              </a:spcAft>
            </a:pPr>
            <a:r>
              <a:rPr lang="en-US"/>
              <a:t>Title</a:t>
            </a:r>
            <a:endParaRPr lang="en-GB"/>
          </a:p>
        </p:txBody>
      </p:sp>
    </p:spTree>
    <p:extLst>
      <p:ext uri="{BB962C8B-B14F-4D97-AF65-F5344CB8AC3E}">
        <p14:creationId xmlns:p14="http://schemas.microsoft.com/office/powerpoint/2010/main" val="1900490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82A11-95E1-4D4C-915F-BED3F7F208C8}"/>
              </a:ext>
            </a:extLst>
          </p:cNvPr>
          <p:cNvSpPr>
            <a:spLocks noGrp="1"/>
          </p:cNvSpPr>
          <p:nvPr>
            <p:ph type="body" sz="quarter" idx="18" hasCustomPrompt="1"/>
          </p:nvPr>
        </p:nvSpPr>
        <p:spPr>
          <a:xfrm>
            <a:off x="360000" y="1174206"/>
            <a:ext cx="6376466" cy="4289045"/>
          </a:xfrm>
          <a:prstGeom prst="round2DiagRect">
            <a:avLst>
              <a:gd name="adj1" fmla="val 0"/>
              <a:gd name="adj2" fmla="val 11550"/>
            </a:avLst>
          </a:prstGeom>
          <a:solidFill>
            <a:schemeClr val="bg1">
              <a:alpha val="85000"/>
            </a:schemeClr>
          </a:solidFill>
          <a:ln/>
        </p:spPr>
        <p:txBody>
          <a:bodyPr vert="horz" wrap="square" lIns="108000" tIns="108000" rIns="108000" bIns="108000" rtlCol="0" anchor="t" anchorCtr="0">
            <a:normAutofit/>
          </a:bodyPr>
          <a:lstStyle>
            <a:lvl1pPr marL="0" indent="0">
              <a:buClr>
                <a:schemeClr val="bg2"/>
              </a:buClr>
              <a:buFont typeface="Arial" panose="020B0604020202020204" pitchFamily="34" charset="0"/>
              <a:buNone/>
              <a:defRPr lang="en-GB" sz="2400" b="0" i="0" dirty="0" smtClean="0">
                <a:solidFill>
                  <a:schemeClr val="tx1"/>
                </a:solidFill>
                <a:latin typeface="Calibri Light" panose="020F0302020204030204" pitchFamily="34" charset="0"/>
                <a:cs typeface="Calibri Light" panose="020F0302020204030204" pitchFamily="34" charset="0"/>
              </a:defRPr>
            </a:lvl1pPr>
            <a:lvl2pPr marL="742950" indent="-285750">
              <a:buFont typeface="System Font Regular"/>
              <a:buChar char="•"/>
              <a:defRPr lang="en-GB" sz="2000" b="0" i="0" dirty="0" smtClean="0">
                <a:latin typeface="Calibri" panose="020F0502020204030204" pitchFamily="34" charset="0"/>
                <a:cs typeface="Calibri" panose="020F0502020204030204" pitchFamily="34" charset="0"/>
              </a:defRPr>
            </a:lvl2pPr>
            <a:lvl3pPr>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Slide Number Placeholder 2">
            <a:extLst>
              <a:ext uri="{FF2B5EF4-FFF2-40B4-BE49-F238E27FC236}">
                <a16:creationId xmlns:a16="http://schemas.microsoft.com/office/drawing/2014/main" id="{F8D3195D-5C31-EC46-8F9A-7C1E17F55679}"/>
              </a:ext>
            </a:extLst>
          </p:cNvPr>
          <p:cNvSpPr>
            <a:spLocks noGrp="1"/>
          </p:cNvSpPr>
          <p:nvPr>
            <p:ph type="sldNum" sz="quarter" idx="19"/>
          </p:nvPr>
        </p:nvSpPr>
        <p:spPr/>
        <p:txBody>
          <a:bodyPr/>
          <a:lstStyle/>
          <a:p>
            <a:fld id="{28A3D32B-9EE4-634E-8394-5B7C42BAEC12}" type="slidenum">
              <a:rPr lang="en-US" smtClean="0"/>
              <a:pPr/>
              <a:t>‹#›</a:t>
            </a:fld>
            <a:endParaRPr lang="en-US">
              <a:solidFill>
                <a:schemeClr val="bg1"/>
              </a:solidFill>
            </a:endParaRPr>
          </a:p>
        </p:txBody>
      </p:sp>
      <p:sp>
        <p:nvSpPr>
          <p:cNvPr id="4" name="Title Placeholder 2">
            <a:extLst>
              <a:ext uri="{FF2B5EF4-FFF2-40B4-BE49-F238E27FC236}">
                <a16:creationId xmlns:a16="http://schemas.microsoft.com/office/drawing/2014/main" id="{505586FB-0A3C-3736-587B-5C00CE7A4999}"/>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Tree>
    <p:extLst>
      <p:ext uri="{BB962C8B-B14F-4D97-AF65-F5344CB8AC3E}">
        <p14:creationId xmlns:p14="http://schemas.microsoft.com/office/powerpoint/2010/main" val="142873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Cover 01">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6628159" y="1497785"/>
            <a:ext cx="6992007" cy="6991680"/>
          </a:xfrm>
          <a:prstGeom prst="ellipse">
            <a:avLst/>
          </a:prstGeom>
        </p:spPr>
        <p:txBody>
          <a:bodyPr/>
          <a:lstStyle>
            <a:lvl1pPr marL="0" indent="0">
              <a:buNone/>
              <a:defRPr sz="1600"/>
            </a:lvl1pPr>
          </a:lstStyle>
          <a:p>
            <a:endParaRPr lang="en-GB"/>
          </a:p>
        </p:txBody>
      </p:sp>
      <p:sp>
        <p:nvSpPr>
          <p:cNvPr id="15" name="Image_Border"/>
          <p:cNvSpPr/>
          <p:nvPr userDrawn="1"/>
        </p:nvSpPr>
        <p:spPr>
          <a:xfrm>
            <a:off x="6126689" y="996595"/>
            <a:ext cx="7994948" cy="7994060"/>
          </a:xfrm>
          <a:prstGeom prst="donut">
            <a:avLst>
              <a:gd name="adj" fmla="val 3102"/>
            </a:avLst>
          </a:prstGeom>
          <a:solidFill>
            <a:srgbClr val="58595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333333"/>
              </a:solidFill>
              <a:effectLst/>
              <a:uLnTx/>
              <a:uFillTx/>
              <a:latin typeface="Calibri"/>
              <a:ea typeface="+mn-ea"/>
              <a:cs typeface="+mn-cs"/>
              <a:sym typeface="Calibri" panose="020F0502020204030204" pitchFamily="34" charset="0"/>
            </a:endParaRPr>
          </a:p>
        </p:txBody>
      </p:sp>
      <p:sp>
        <p:nvSpPr>
          <p:cNvPr id="9" name="FooterText Manuell"/>
          <p:cNvSpPr>
            <a:spLocks noGrp="1"/>
          </p:cNvSpPr>
          <p:nvPr>
            <p:ph type="body" sz="quarter" idx="13" hasCustomPrompt="1"/>
          </p:nvPr>
        </p:nvSpPr>
        <p:spPr>
          <a:xfrm>
            <a:off x="386690" y="4230856"/>
            <a:ext cx="4679589" cy="432048"/>
          </a:xfrm>
          <a:prstGeom prst="rect">
            <a:avLst/>
          </a:prstGeom>
        </p:spPr>
        <p:txBody>
          <a:bodyPr lIns="0" rIns="0"/>
          <a:lstStyle>
            <a:lvl1pPr marL="0" indent="0" algn="l">
              <a:spcBef>
                <a:spcPts val="0"/>
              </a:spcBef>
              <a:buNone/>
              <a:defRPr sz="2400" baseline="0">
                <a:solidFill>
                  <a:schemeClr val="tx2"/>
                </a:solidFill>
                <a:latin typeface="Calibri" pitchFamily="34" charset="0"/>
              </a:defRPr>
            </a:lvl1pPr>
          </a:lstStyle>
          <a:p>
            <a:pPr lvl="0"/>
            <a:r>
              <a:rPr lang="en-US"/>
              <a:t>Sub-Title</a:t>
            </a:r>
            <a:endParaRPr lang="en-GB"/>
          </a:p>
        </p:txBody>
      </p:sp>
      <p:sp>
        <p:nvSpPr>
          <p:cNvPr id="8" name="Title 7"/>
          <p:cNvSpPr>
            <a:spLocks noGrp="1"/>
          </p:cNvSpPr>
          <p:nvPr>
            <p:ph type="title" hasCustomPrompt="1"/>
            <p:custDataLst>
              <p:tags r:id="rId1"/>
            </p:custDataLst>
          </p:nvPr>
        </p:nvSpPr>
        <p:spPr bwMode="auto">
          <a:xfrm>
            <a:off x="386690" y="2108251"/>
            <a:ext cx="4704523" cy="134614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b" anchorCtr="0">
            <a:noAutofit/>
          </a:bodyPr>
          <a:lstStyle>
            <a:lvl1pPr marL="0" indent="0" algn="l">
              <a:lnSpc>
                <a:spcPct val="100000"/>
              </a:lnSpc>
              <a:spcBef>
                <a:spcPct val="20000"/>
              </a:spcBef>
              <a:spcAft>
                <a:spcPts val="0"/>
              </a:spcAft>
              <a:defRPr kumimoji="0" sz="4000" b="0"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Section Separator</a:t>
            </a:r>
          </a:p>
        </p:txBody>
      </p:sp>
      <p:sp>
        <p:nvSpPr>
          <p:cNvPr id="13" name="FooterText Manuell">
            <a:extLst>
              <a:ext uri="{FF2B5EF4-FFF2-40B4-BE49-F238E27FC236}">
                <a16:creationId xmlns:a16="http://schemas.microsoft.com/office/drawing/2014/main" id="{85A5C8D3-EF02-3C59-E461-6E6BD3DB0E5C}"/>
              </a:ext>
            </a:extLst>
          </p:cNvPr>
          <p:cNvSpPr txBox="1">
            <a:spLocks/>
          </p:cNvSpPr>
          <p:nvPr userDrawn="1"/>
        </p:nvSpPr>
        <p:spPr>
          <a:xfrm>
            <a:off x="5057345" y="205088"/>
            <a:ext cx="6992007" cy="1002460"/>
          </a:xfrm>
          <a:prstGeom prst="rect">
            <a:avLst/>
          </a:prstGeom>
        </p:spPr>
        <p:txBody>
          <a:bodyPr lIns="0" rIns="0" anchor="ctr"/>
          <a:lstStyle>
            <a:lvl1pPr marL="0" indent="0" algn="l" defTabSz="914400" rtl="0" eaLnBrk="1" latinLnBrk="0" hangingPunct="1">
              <a:lnSpc>
                <a:spcPct val="150000"/>
              </a:lnSpc>
              <a:spcBef>
                <a:spcPts val="0"/>
              </a:spcBef>
              <a:buFont typeface="Arial" pitchFamily="34" charset="0"/>
              <a:buNone/>
              <a:defRPr sz="2800" kern="1200" baseline="30000">
                <a:solidFill>
                  <a:schemeClr val="tx2"/>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3600" b="1">
                <a:latin typeface="+mn-lt"/>
                <a:ea typeface="Calibri Light" panose="020F0302020204030204" pitchFamily="34" charset="0"/>
                <a:cs typeface="Calibri Light" panose="020F0302020204030204" pitchFamily="34" charset="0"/>
              </a:rPr>
              <a:t>9th Greek Raw Materials Community Dialogue</a:t>
            </a:r>
            <a:endParaRPr lang="en-GB" sz="3600" b="1">
              <a:latin typeface="+mn-lt"/>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72478416"/>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over 01">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A1EC466A-F903-A245-7626-637A294918DB}"/>
              </a:ext>
            </a:extLst>
          </p:cNvPr>
          <p:cNvPicPr>
            <a:picLocks noChangeAspect="1"/>
          </p:cNvPicPr>
          <p:nvPr userDrawn="1"/>
        </p:nvPicPr>
        <p:blipFill>
          <a:blip r:embed="rId3"/>
          <a:stretch>
            <a:fillRect/>
          </a:stretch>
        </p:blipFill>
        <p:spPr>
          <a:xfrm>
            <a:off x="5128621" y="5186609"/>
            <a:ext cx="2770566" cy="1499664"/>
          </a:xfrm>
          <a:prstGeom prst="rect">
            <a:avLst/>
          </a:prstGeom>
        </p:spPr>
      </p:pic>
      <p:sp>
        <p:nvSpPr>
          <p:cNvPr id="5" name="Freeform 16">
            <a:extLst>
              <a:ext uri="{FF2B5EF4-FFF2-40B4-BE49-F238E27FC236}">
                <a16:creationId xmlns:a16="http://schemas.microsoft.com/office/drawing/2014/main" id="{879E3597-B7A0-F7F6-E4F8-307B3C108905}"/>
              </a:ext>
            </a:extLst>
          </p:cNvPr>
          <p:cNvSpPr>
            <a:spLocks/>
          </p:cNvSpPr>
          <p:nvPr userDrawn="1"/>
        </p:nvSpPr>
        <p:spPr bwMode="auto">
          <a:xfrm>
            <a:off x="1938757" y="0"/>
            <a:ext cx="9208214" cy="6858000"/>
          </a:xfrm>
          <a:custGeom>
            <a:avLst/>
            <a:gdLst>
              <a:gd name="connsiteX0" fmla="*/ 0 w 9208214"/>
              <a:gd name="connsiteY0" fmla="*/ 3451989 h 6858000"/>
              <a:gd name="connsiteX1" fmla="*/ 256911 w 9208214"/>
              <a:gd name="connsiteY1" fmla="*/ 3451989 h 6858000"/>
              <a:gd name="connsiteX2" fmla="*/ 1840424 w 9208214"/>
              <a:gd name="connsiteY2" fmla="*/ 6813426 h 6858000"/>
              <a:gd name="connsiteX3" fmla="*/ 1897147 w 9208214"/>
              <a:gd name="connsiteY3" fmla="*/ 6858000 h 6858000"/>
              <a:gd name="connsiteX4" fmla="*/ 1511414 w 9208214"/>
              <a:gd name="connsiteY4" fmla="*/ 6858000 h 6858000"/>
              <a:gd name="connsiteX5" fmla="*/ 1510364 w 9208214"/>
              <a:gd name="connsiteY5" fmla="*/ 6857092 h 6858000"/>
              <a:gd name="connsiteX6" fmla="*/ 0 w 9208214"/>
              <a:gd name="connsiteY6" fmla="*/ 3451989 h 6858000"/>
              <a:gd name="connsiteX7" fmla="*/ 7276793 w 9208214"/>
              <a:gd name="connsiteY7" fmla="*/ 0 h 6858000"/>
              <a:gd name="connsiteX8" fmla="*/ 7650264 w 9208214"/>
              <a:gd name="connsiteY8" fmla="*/ 0 h 6858000"/>
              <a:gd name="connsiteX9" fmla="*/ 7695823 w 9208214"/>
              <a:gd name="connsiteY9" fmla="*/ 39490 h 6858000"/>
              <a:gd name="connsiteX10" fmla="*/ 9208214 w 9208214"/>
              <a:gd name="connsiteY10" fmla="*/ 3451989 h 6858000"/>
              <a:gd name="connsiteX11" fmla="*/ 7695823 w 9208214"/>
              <a:gd name="connsiteY11" fmla="*/ 6857092 h 6858000"/>
              <a:gd name="connsiteX12" fmla="*/ 7694771 w 9208214"/>
              <a:gd name="connsiteY12" fmla="*/ 6858000 h 6858000"/>
              <a:gd name="connsiteX13" fmla="*/ 7319219 w 9208214"/>
              <a:gd name="connsiteY13" fmla="*/ 6858000 h 6858000"/>
              <a:gd name="connsiteX14" fmla="*/ 7381312 w 9208214"/>
              <a:gd name="connsiteY14" fmla="*/ 6809057 h 6858000"/>
              <a:gd name="connsiteX15" fmla="*/ 8964825 w 9208214"/>
              <a:gd name="connsiteY15" fmla="*/ 3451989 h 6858000"/>
              <a:gd name="connsiteX16" fmla="*/ 7381312 w 9208214"/>
              <a:gd name="connsiteY16" fmla="*/ 825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8214" h="6858000">
                <a:moveTo>
                  <a:pt x="0" y="3451989"/>
                </a:moveTo>
                <a:cubicBezTo>
                  <a:pt x="0" y="3451989"/>
                  <a:pt x="0" y="3451989"/>
                  <a:pt x="256911" y="3451989"/>
                </a:cubicBezTo>
                <a:cubicBezTo>
                  <a:pt x="256911" y="4806241"/>
                  <a:pt x="872989" y="6014986"/>
                  <a:pt x="1840424" y="6813426"/>
                </a:cubicBezTo>
                <a:lnTo>
                  <a:pt x="1897147" y="6858000"/>
                </a:lnTo>
                <a:lnTo>
                  <a:pt x="1511414" y="6858000"/>
                </a:lnTo>
                <a:lnTo>
                  <a:pt x="1510364" y="6857092"/>
                </a:lnTo>
                <a:cubicBezTo>
                  <a:pt x="583872" y="6016307"/>
                  <a:pt x="0" y="4802859"/>
                  <a:pt x="0" y="3451989"/>
                </a:cubicBezTo>
                <a:close/>
                <a:moveTo>
                  <a:pt x="7276793" y="0"/>
                </a:moveTo>
                <a:lnTo>
                  <a:pt x="7650264" y="0"/>
                </a:lnTo>
                <a:lnTo>
                  <a:pt x="7695823" y="39490"/>
                </a:lnTo>
                <a:cubicBezTo>
                  <a:pt x="8624342" y="883854"/>
                  <a:pt x="9208214" y="2101119"/>
                  <a:pt x="9208214" y="3451989"/>
                </a:cubicBezTo>
                <a:cubicBezTo>
                  <a:pt x="9208214" y="4802859"/>
                  <a:pt x="8624342" y="6016307"/>
                  <a:pt x="7695823" y="6857092"/>
                </a:cubicBezTo>
                <a:lnTo>
                  <a:pt x="7694771" y="6858000"/>
                </a:lnTo>
                <a:lnTo>
                  <a:pt x="7319219" y="6858000"/>
                </a:lnTo>
                <a:lnTo>
                  <a:pt x="7381312" y="6809057"/>
                </a:lnTo>
                <a:cubicBezTo>
                  <a:pt x="8348747" y="6008329"/>
                  <a:pt x="8964825" y="4798632"/>
                  <a:pt x="8964825" y="3451989"/>
                </a:cubicBezTo>
                <a:cubicBezTo>
                  <a:pt x="8964825" y="2097738"/>
                  <a:pt x="8348747" y="884713"/>
                  <a:pt x="7381312" y="82528"/>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solidFill>
                <a:srgbClr val="333333"/>
              </a:solidFill>
            </a:endParaRPr>
          </a:p>
        </p:txBody>
      </p:sp>
      <p:sp>
        <p:nvSpPr>
          <p:cNvPr id="6" name="Freeform 13">
            <a:extLst>
              <a:ext uri="{FF2B5EF4-FFF2-40B4-BE49-F238E27FC236}">
                <a16:creationId xmlns:a16="http://schemas.microsoft.com/office/drawing/2014/main" id="{E9E6F0A9-4F62-9B1A-BB35-FEB9A6E07EA0}"/>
              </a:ext>
            </a:extLst>
          </p:cNvPr>
          <p:cNvSpPr>
            <a:spLocks/>
          </p:cNvSpPr>
          <p:nvPr userDrawn="1"/>
        </p:nvSpPr>
        <p:spPr bwMode="auto">
          <a:xfrm>
            <a:off x="2967942" y="0"/>
            <a:ext cx="6665200" cy="6858000"/>
          </a:xfrm>
          <a:custGeom>
            <a:avLst/>
            <a:gdLst>
              <a:gd name="connsiteX0" fmla="*/ 2610061 w 6665200"/>
              <a:gd name="connsiteY0" fmla="*/ 0 h 6858000"/>
              <a:gd name="connsiteX1" fmla="*/ 4534054 w 6665200"/>
              <a:gd name="connsiteY1" fmla="*/ 0 h 6858000"/>
              <a:gd name="connsiteX2" fmla="*/ 4751819 w 6665200"/>
              <a:gd name="connsiteY2" fmla="*/ 67745 h 6858000"/>
              <a:gd name="connsiteX3" fmla="*/ 6665200 w 6665200"/>
              <a:gd name="connsiteY3" fmla="*/ 1653704 h 6858000"/>
              <a:gd name="connsiteX4" fmla="*/ 6462405 w 6665200"/>
              <a:gd name="connsiteY4" fmla="*/ 1775392 h 6858000"/>
              <a:gd name="connsiteX5" fmla="*/ 3569194 w 6665200"/>
              <a:gd name="connsiteY5" fmla="*/ 112319 h 6858000"/>
              <a:gd name="connsiteX6" fmla="*/ 243355 w 6665200"/>
              <a:gd name="connsiteY6" fmla="*/ 3451986 h 6858000"/>
              <a:gd name="connsiteX7" fmla="*/ 3569194 w 6665200"/>
              <a:gd name="connsiteY7" fmla="*/ 6778133 h 6858000"/>
              <a:gd name="connsiteX8" fmla="*/ 6462405 w 6665200"/>
              <a:gd name="connsiteY8" fmla="*/ 5115059 h 6858000"/>
              <a:gd name="connsiteX9" fmla="*/ 6665200 w 6665200"/>
              <a:gd name="connsiteY9" fmla="*/ 5236748 h 6858000"/>
              <a:gd name="connsiteX10" fmla="*/ 4751819 w 6665200"/>
              <a:gd name="connsiteY10" fmla="*/ 6822706 h 6858000"/>
              <a:gd name="connsiteX11" fmla="*/ 4638367 w 6665200"/>
              <a:gd name="connsiteY11" fmla="*/ 6858000 h 6858000"/>
              <a:gd name="connsiteX12" fmla="*/ 2497192 w 6665200"/>
              <a:gd name="connsiteY12" fmla="*/ 6858000 h 6858000"/>
              <a:gd name="connsiteX13" fmla="*/ 2340920 w 6665200"/>
              <a:gd name="connsiteY13" fmla="*/ 6805210 h 6858000"/>
              <a:gd name="connsiteX14" fmla="*/ 0 w 6665200"/>
              <a:gd name="connsiteY14" fmla="*/ 3451986 h 6858000"/>
              <a:gd name="connsiteX15" fmla="*/ 2506837 w 6665200"/>
              <a:gd name="connsiteY15" fmla="*/ 2928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65200" h="6858000">
                <a:moveTo>
                  <a:pt x="2610061" y="0"/>
                </a:moveTo>
                <a:lnTo>
                  <a:pt x="4534054" y="0"/>
                </a:lnTo>
                <a:lnTo>
                  <a:pt x="4751819" y="67745"/>
                </a:lnTo>
                <a:cubicBezTo>
                  <a:pt x="5566673" y="351153"/>
                  <a:pt x="6246935" y="919349"/>
                  <a:pt x="6665200" y="1653704"/>
                </a:cubicBezTo>
                <a:cubicBezTo>
                  <a:pt x="6665200" y="1653704"/>
                  <a:pt x="6665200" y="1653704"/>
                  <a:pt x="6462405" y="1775392"/>
                </a:cubicBezTo>
                <a:cubicBezTo>
                  <a:pt x="5881059" y="788365"/>
                  <a:pt x="4799485" y="112319"/>
                  <a:pt x="3569194" y="112319"/>
                </a:cubicBezTo>
                <a:cubicBezTo>
                  <a:pt x="1730519" y="112319"/>
                  <a:pt x="243355" y="1613141"/>
                  <a:pt x="243355" y="3451986"/>
                </a:cubicBezTo>
                <a:cubicBezTo>
                  <a:pt x="243355" y="5290831"/>
                  <a:pt x="1730519" y="6778133"/>
                  <a:pt x="3569194" y="6778133"/>
                </a:cubicBezTo>
                <a:cubicBezTo>
                  <a:pt x="4799485" y="6778133"/>
                  <a:pt x="5881059" y="6102087"/>
                  <a:pt x="6462405" y="5115059"/>
                </a:cubicBezTo>
                <a:cubicBezTo>
                  <a:pt x="6462405" y="5115059"/>
                  <a:pt x="6462405" y="5115059"/>
                  <a:pt x="6665200" y="5236748"/>
                </a:cubicBezTo>
                <a:cubicBezTo>
                  <a:pt x="6246935" y="5971103"/>
                  <a:pt x="5566673" y="6539298"/>
                  <a:pt x="4751819" y="6822706"/>
                </a:cubicBezTo>
                <a:lnTo>
                  <a:pt x="4638367" y="6858000"/>
                </a:lnTo>
                <a:lnTo>
                  <a:pt x="2497192" y="6858000"/>
                </a:lnTo>
                <a:lnTo>
                  <a:pt x="2340920" y="6805210"/>
                </a:lnTo>
                <a:cubicBezTo>
                  <a:pt x="973708" y="6305376"/>
                  <a:pt x="0" y="4994216"/>
                  <a:pt x="0" y="3451986"/>
                </a:cubicBezTo>
                <a:cubicBezTo>
                  <a:pt x="0" y="1837081"/>
                  <a:pt x="1053162" y="481028"/>
                  <a:pt x="2506837" y="29282"/>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en-US">
              <a:solidFill>
                <a:srgbClr val="333333"/>
              </a:solidFill>
            </a:endParaRPr>
          </a:p>
        </p:txBody>
      </p:sp>
      <p:sp>
        <p:nvSpPr>
          <p:cNvPr id="7" name="FooterText Manuell">
            <a:extLst>
              <a:ext uri="{FF2B5EF4-FFF2-40B4-BE49-F238E27FC236}">
                <a16:creationId xmlns:a16="http://schemas.microsoft.com/office/drawing/2014/main" id="{E24B706F-01D3-F0F6-B9AC-8CD10A1D875F}"/>
              </a:ext>
            </a:extLst>
          </p:cNvPr>
          <p:cNvSpPr>
            <a:spLocks noGrp="1"/>
          </p:cNvSpPr>
          <p:nvPr>
            <p:ph type="body" sz="quarter" idx="13" hasCustomPrompt="1"/>
          </p:nvPr>
        </p:nvSpPr>
        <p:spPr>
          <a:xfrm>
            <a:off x="4215536" y="2207047"/>
            <a:ext cx="4679589" cy="902078"/>
          </a:xfrm>
          <a:prstGeom prst="rect">
            <a:avLst/>
          </a:prstGeom>
        </p:spPr>
        <p:txBody>
          <a:bodyPr lIns="0" rIns="0"/>
          <a:lstStyle>
            <a:lvl1pPr marL="0" indent="0" algn="ctr">
              <a:spcBef>
                <a:spcPts val="0"/>
              </a:spcBef>
              <a:buNone/>
              <a:defRPr sz="2400" baseline="0">
                <a:solidFill>
                  <a:schemeClr val="tx2"/>
                </a:solidFill>
                <a:latin typeface="Calibri" pitchFamily="34" charset="0"/>
              </a:defRPr>
            </a:lvl1pPr>
          </a:lstStyle>
          <a:p>
            <a:pPr lvl="0"/>
            <a:r>
              <a:rPr lang="en-US"/>
              <a:t>Name</a:t>
            </a:r>
            <a:br>
              <a:rPr lang="en-US"/>
            </a:br>
            <a:r>
              <a:rPr lang="en-US"/>
              <a:t>Email address</a:t>
            </a:r>
            <a:endParaRPr lang="en-GB"/>
          </a:p>
        </p:txBody>
      </p:sp>
      <p:sp>
        <p:nvSpPr>
          <p:cNvPr id="10" name="Title 7">
            <a:extLst>
              <a:ext uri="{FF2B5EF4-FFF2-40B4-BE49-F238E27FC236}">
                <a16:creationId xmlns:a16="http://schemas.microsoft.com/office/drawing/2014/main" id="{70C1D74B-825E-D000-7CC6-B5DBF4243274}"/>
              </a:ext>
            </a:extLst>
          </p:cNvPr>
          <p:cNvSpPr>
            <a:spLocks noGrp="1"/>
          </p:cNvSpPr>
          <p:nvPr>
            <p:ph type="title" hasCustomPrompt="1"/>
            <p:custDataLst>
              <p:tags r:id="rId1"/>
            </p:custDataLst>
          </p:nvPr>
        </p:nvSpPr>
        <p:spPr bwMode="auto">
          <a:xfrm>
            <a:off x="4190602" y="655969"/>
            <a:ext cx="4704523" cy="134614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ctr">
              <a:lnSpc>
                <a:spcPct val="100000"/>
              </a:lnSpc>
              <a:spcBef>
                <a:spcPct val="20000"/>
              </a:spcBef>
              <a:spcAft>
                <a:spcPts val="0"/>
              </a:spcAft>
              <a:defRPr kumimoji="0" sz="4000" b="0" i="0" u="none"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a:t>Thank you!</a:t>
            </a:r>
          </a:p>
        </p:txBody>
      </p:sp>
    </p:spTree>
    <p:extLst>
      <p:ext uri="{BB962C8B-B14F-4D97-AF65-F5344CB8AC3E}">
        <p14:creationId xmlns:p14="http://schemas.microsoft.com/office/powerpoint/2010/main" val="358920390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extLst>
    <p:ext uri="{DCECCB84-F9BA-43D5-87BE-67443E8EF086}">
      <p15:sldGuideLst xmlns:p15="http://schemas.microsoft.com/office/powerpoint/2012/main">
        <p15:guide id="1" orient="horz" pos="3838">
          <p15:clr>
            <a:srgbClr val="FBAE40"/>
          </p15:clr>
        </p15:guide>
        <p15:guide id="2" orient="horz" pos="39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Text Slide">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8140533"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2400" dirty="0" smtClean="0">
                <a:solidFill>
                  <a:schemeClr val="tx1"/>
                </a:solidFill>
                <a:latin typeface="+mn-lt"/>
              </a:defRPr>
            </a:lvl1pPr>
            <a:lvl2pPr>
              <a:defRPr lang="en-GB" sz="2400" dirty="0" smtClean="0">
                <a:latin typeface="+mn-lt"/>
                <a:ea typeface="Calibri Light" panose="020F0302020204030204" pitchFamily="34" charset="0"/>
                <a:cs typeface="Calibri Light" panose="020F0302020204030204" pitchFamily="34" charset="0"/>
              </a:defRPr>
            </a:lvl2pPr>
            <a:lvl3pPr>
              <a:defRPr lang="en-GB" sz="2400" dirty="0">
                <a:latin typeface="+mn-lt"/>
                <a:ea typeface="Calibri Light" panose="020F0302020204030204" pitchFamily="34" charset="0"/>
                <a:cs typeface="Calibri Light" panose="020F0302020204030204" pitchFamily="34" charset="0"/>
              </a:defRPr>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a:p>
            <a:pPr marL="990900" lvl="1" indent="-342900">
              <a:buFont typeface="Arial" panose="020B0604020202020204" pitchFamily="34" charset="0"/>
              <a:buChar char="•"/>
            </a:pPr>
            <a:r>
              <a:rPr lang="en-US"/>
              <a:t>Second level bullet point</a:t>
            </a:r>
            <a:endParaRPr lang="el-GR"/>
          </a:p>
          <a:p>
            <a:pPr marL="1485900" lvl="2" indent="-342900">
              <a:buFont typeface="Arial" panose="020B0604020202020204" pitchFamily="34" charset="0"/>
              <a:buChar char="•"/>
            </a:pPr>
            <a:r>
              <a:rPr lang="en-US"/>
              <a:t>Third level bullet point</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p:txBody>
      </p:sp>
      <p:sp>
        <p:nvSpPr>
          <p:cNvPr id="4" name="Title Placeholder 2">
            <a:extLst>
              <a:ext uri="{FF2B5EF4-FFF2-40B4-BE49-F238E27FC236}">
                <a16:creationId xmlns:a16="http://schemas.microsoft.com/office/drawing/2014/main" id="{2EF7050A-5E4F-2689-F959-77EC7666DBE4}"/>
              </a:ext>
            </a:extLst>
          </p:cNvPr>
          <p:cNvSpPr>
            <a:spLocks noGrp="1"/>
          </p:cNvSpPr>
          <p:nvPr>
            <p:ph type="title"/>
          </p:nvPr>
        </p:nvSpPr>
        <p:spPr>
          <a:xfrm>
            <a:off x="340996" y="365474"/>
            <a:ext cx="8159536"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5" name="Rectangle 3">
            <a:extLst>
              <a:ext uri="{FF2B5EF4-FFF2-40B4-BE49-F238E27FC236}">
                <a16:creationId xmlns:a16="http://schemas.microsoft.com/office/drawing/2014/main" id="{400AC12B-D260-6CB8-59A0-87CFE6E42BA6}"/>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
        <p:nvSpPr>
          <p:cNvPr id="22" name="Rectangle 21">
            <a:extLst>
              <a:ext uri="{FF2B5EF4-FFF2-40B4-BE49-F238E27FC236}">
                <a16:creationId xmlns:a16="http://schemas.microsoft.com/office/drawing/2014/main" id="{E338F8F0-EA3F-2591-6DA5-21EA3F0790CD}"/>
              </a:ext>
            </a:extLst>
          </p:cNvPr>
          <p:cNvSpPr/>
          <p:nvPr userDrawn="1"/>
        </p:nvSpPr>
        <p:spPr>
          <a:xfrm>
            <a:off x="8835646" y="205999"/>
            <a:ext cx="3259666" cy="811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Company’s Logo Placement</a:t>
            </a:r>
          </a:p>
        </p:txBody>
      </p:sp>
    </p:spTree>
    <p:extLst>
      <p:ext uri="{BB962C8B-B14F-4D97-AF65-F5344CB8AC3E}">
        <p14:creationId xmlns:p14="http://schemas.microsoft.com/office/powerpoint/2010/main" val="1921305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_Width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2AF0183-137C-0240-A849-C7500AF6AFBE}"/>
              </a:ext>
            </a:extLst>
          </p:cNvPr>
          <p:cNvSpPr>
            <a:spLocks noGrp="1"/>
          </p:cNvSpPr>
          <p:nvPr>
            <p:ph type="body" sz="quarter" idx="18" hasCustomPrompt="1"/>
          </p:nvPr>
        </p:nvSpPr>
        <p:spPr>
          <a:xfrm>
            <a:off x="360000" y="1080000"/>
            <a:ext cx="11510008" cy="439260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sz="2000" dirty="0">
                <a:solidFill>
                  <a:schemeClr val="tx1"/>
                </a:solidFill>
              </a:defRPr>
            </a:lvl1pPr>
            <a:lvl2pPr>
              <a:defRPr lang="en-GB" sz="2000" dirty="0" smtClean="0"/>
            </a:lvl2pPr>
            <a:lvl3pPr>
              <a:defRPr lang="en-GB" sz="2000" dirty="0" smtClean="0"/>
            </a:lvl3pPr>
            <a:lvl4pPr>
              <a:defRPr lang="en-GB" sz="2000" dirty="0" smtClean="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Title Placeholder 2">
            <a:extLst>
              <a:ext uri="{FF2B5EF4-FFF2-40B4-BE49-F238E27FC236}">
                <a16:creationId xmlns:a16="http://schemas.microsoft.com/office/drawing/2014/main" id="{B64D2039-BB78-E75E-A024-A372E4785EB1}"/>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4" name="Slide Number Placeholder 3">
            <a:extLst>
              <a:ext uri="{FF2B5EF4-FFF2-40B4-BE49-F238E27FC236}">
                <a16:creationId xmlns:a16="http://schemas.microsoft.com/office/drawing/2014/main" id="{A3CDC000-4A04-196C-68C0-920FC124B9C6}"/>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
        <p:nvSpPr>
          <p:cNvPr id="7" name="Rectangle 6">
            <a:extLst>
              <a:ext uri="{FF2B5EF4-FFF2-40B4-BE49-F238E27FC236}">
                <a16:creationId xmlns:a16="http://schemas.microsoft.com/office/drawing/2014/main" id="{04DBB77A-891C-0BFE-48CE-547EBB260A3A}"/>
              </a:ext>
            </a:extLst>
          </p:cNvPr>
          <p:cNvSpPr/>
          <p:nvPr userDrawn="1"/>
        </p:nvSpPr>
        <p:spPr>
          <a:xfrm>
            <a:off x="8835646" y="205999"/>
            <a:ext cx="3259666" cy="811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Company’s Logo Placement</a:t>
            </a:r>
          </a:p>
        </p:txBody>
      </p:sp>
    </p:spTree>
    <p:extLst>
      <p:ext uri="{BB962C8B-B14F-4D97-AF65-F5344CB8AC3E}">
        <p14:creationId xmlns:p14="http://schemas.microsoft.com/office/powerpoint/2010/main" val="4152816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ue Text Box and Image">
    <p:spTree>
      <p:nvGrpSpPr>
        <p:cNvPr id="1" name=""/>
        <p:cNvGrpSpPr/>
        <p:nvPr/>
      </p:nvGrpSpPr>
      <p:grpSpPr>
        <a:xfrm>
          <a:off x="0" y="0"/>
          <a:ext cx="0" cy="0"/>
          <a:chOff x="0" y="0"/>
          <a:chExt cx="0" cy="0"/>
        </a:xfrm>
      </p:grpSpPr>
      <p:sp>
        <p:nvSpPr>
          <p:cNvPr id="5" name="Picture Placeholder 24">
            <a:extLst>
              <a:ext uri="{FF2B5EF4-FFF2-40B4-BE49-F238E27FC236}">
                <a16:creationId xmlns:a16="http://schemas.microsoft.com/office/drawing/2014/main" id="{C017F956-2127-B047-9B2A-DA5BB1AFFDC7}"/>
              </a:ext>
            </a:extLst>
          </p:cNvPr>
          <p:cNvSpPr>
            <a:spLocks noGrp="1"/>
          </p:cNvSpPr>
          <p:nvPr>
            <p:ph type="pic" sz="quarter" idx="15"/>
          </p:nvPr>
        </p:nvSpPr>
        <p:spPr>
          <a:xfrm>
            <a:off x="8197599" y="1080000"/>
            <a:ext cx="3600401" cy="4392836"/>
          </a:xfrm>
          <a:prstGeom prst="round2DiagRect">
            <a:avLst>
              <a:gd name="adj1" fmla="val 0"/>
              <a:gd name="adj2" fmla="val 9482"/>
            </a:avLst>
          </a:prstGeom>
        </p:spPr>
        <p:txBody>
          <a:bodyPr/>
          <a:lstStyle>
            <a:lvl1pPr marL="0" indent="0">
              <a:buNone/>
              <a:defRPr sz="1600"/>
            </a:lvl1pPr>
          </a:lstStyle>
          <a:p>
            <a:r>
              <a:rPr lang="en-US"/>
              <a:t>Click icon to add picture</a:t>
            </a:r>
            <a:endParaRPr lang="en-GB"/>
          </a:p>
        </p:txBody>
      </p:sp>
      <p:sp>
        <p:nvSpPr>
          <p:cNvPr id="7" name="Text Placeholder 4">
            <a:extLst>
              <a:ext uri="{FF2B5EF4-FFF2-40B4-BE49-F238E27FC236}">
                <a16:creationId xmlns:a16="http://schemas.microsoft.com/office/drawing/2014/main" id="{D66140D5-5CE0-F14A-ACE3-A9EA6FA68B6B}"/>
              </a:ext>
            </a:extLst>
          </p:cNvPr>
          <p:cNvSpPr>
            <a:spLocks noGrp="1"/>
          </p:cNvSpPr>
          <p:nvPr>
            <p:ph type="body" sz="quarter" idx="16" hasCustomPrompt="1"/>
            <p:custDataLst>
              <p:tags r:id="rId1"/>
            </p:custDataLst>
          </p:nvPr>
        </p:nvSpPr>
        <p:spPr>
          <a:xfrm>
            <a:off x="359999" y="1080000"/>
            <a:ext cx="7585121" cy="4406400"/>
          </a:xfrm>
          <a:prstGeom prst="round2DiagRect">
            <a:avLst>
              <a:gd name="adj1" fmla="val 0"/>
              <a:gd name="adj2" fmla="val 8708"/>
            </a:avLst>
          </a:prstGeom>
          <a:solidFill>
            <a:schemeClr val="tx2"/>
          </a:solidFill>
          <a:ln/>
        </p:spPr>
        <p:txBody>
          <a:bodyPr vert="horz" wrap="square" lIns="108000" tIns="108000" rIns="108000" bIns="108000" rtlCol="0" anchor="t" anchorCtr="0">
            <a:noAutofit/>
          </a:bodyPr>
          <a:lstStyle>
            <a:lvl1pPr marL="0" indent="0" algn="l">
              <a:buFont typeface="Arial" panose="020B0604020202020204" pitchFamily="34" charset="0"/>
              <a:buNone/>
              <a:defRPr lang="en-GB" sz="20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Title Placeholder 2">
            <a:extLst>
              <a:ext uri="{FF2B5EF4-FFF2-40B4-BE49-F238E27FC236}">
                <a16:creationId xmlns:a16="http://schemas.microsoft.com/office/drawing/2014/main" id="{AA3E611F-E702-A57F-A20C-E2A8113095A1}"/>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6" name="Rectangle 3">
            <a:extLst>
              <a:ext uri="{FF2B5EF4-FFF2-40B4-BE49-F238E27FC236}">
                <a16:creationId xmlns:a16="http://schemas.microsoft.com/office/drawing/2014/main" id="{944BEC80-56BE-5E2C-20DC-D880E368E871}"/>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3131067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Blue Text Box">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525864E2-0DB5-854E-8327-1380A4E284D6}"/>
              </a:ext>
            </a:extLst>
          </p:cNvPr>
          <p:cNvSpPr>
            <a:spLocks noGrp="1"/>
          </p:cNvSpPr>
          <p:nvPr>
            <p:ph type="body" sz="quarter" idx="16" hasCustomPrompt="1"/>
            <p:custDataLst>
              <p:tags r:id="rId1"/>
            </p:custDataLst>
          </p:nvPr>
        </p:nvSpPr>
        <p:spPr>
          <a:xfrm>
            <a:off x="359999" y="1080000"/>
            <a:ext cx="11510008" cy="4406400"/>
          </a:xfrm>
          <a:prstGeom prst="round2DiagRect">
            <a:avLst>
              <a:gd name="adj1" fmla="val 0"/>
              <a:gd name="adj2" fmla="val 8938"/>
            </a:avLst>
          </a:prstGeom>
          <a:solidFill>
            <a:schemeClr val="tx2"/>
          </a:solidFill>
          <a:ln/>
        </p:spPr>
        <p:txBody>
          <a:bodyPr vert="horz" wrap="square" lIns="108000" tIns="108000" rIns="108000" bIns="108000" rtlCol="0" anchor="t" anchorCtr="0">
            <a:noAutofit/>
          </a:bodyPr>
          <a:lstStyle>
            <a:lvl1pPr marL="0" indent="0" algn="l">
              <a:buFont typeface="Arial" panose="020B0604020202020204" pitchFamily="34" charset="0"/>
              <a:buNone/>
              <a:defRPr lang="en-GB" sz="2000" dirty="0" smtClean="0">
                <a:solidFill>
                  <a:schemeClr val="bg1"/>
                </a:solidFill>
              </a:defRPr>
            </a:lvl1pPr>
            <a:lvl2pPr marL="720725" indent="-254000" algn="l">
              <a:buFont typeface="Arial" panose="020B0604020202020204" pitchFamily="34" charset="0"/>
              <a:buChar char="•"/>
              <a:tabLst/>
              <a:defRPr lang="en-GB" sz="2000" dirty="0" smtClean="0">
                <a:solidFill>
                  <a:schemeClr val="bg1"/>
                </a:solidFill>
              </a:defRPr>
            </a:lvl2pPr>
            <a:lvl3pPr marL="963000" indent="0" algn="l">
              <a:buNone/>
              <a:defRPr lang="en-GB" sz="2000" dirty="0">
                <a:solidFill>
                  <a:schemeClr val="bg1"/>
                </a:solidFill>
              </a:defRPr>
            </a:lvl3pPr>
            <a:lvl4pPr marL="1420200" indent="0" algn="l">
              <a:buNone/>
              <a:defRPr lang="en-GB" sz="2000" dirty="0" smtClean="0">
                <a:solidFill>
                  <a:schemeClr val="bg1"/>
                </a:solidFill>
              </a:defRPr>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4" name="Title Placeholder 2">
            <a:extLst>
              <a:ext uri="{FF2B5EF4-FFF2-40B4-BE49-F238E27FC236}">
                <a16:creationId xmlns:a16="http://schemas.microsoft.com/office/drawing/2014/main" id="{BCF8308F-542A-9E62-3CA4-6572DBE05D56}"/>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5" name="Rectangle 3">
            <a:extLst>
              <a:ext uri="{FF2B5EF4-FFF2-40B4-BE49-F238E27FC236}">
                <a16:creationId xmlns:a16="http://schemas.microsoft.com/office/drawing/2014/main" id="{696701ED-9CAE-FEAE-2726-539F0DBD9965}"/>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3115825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able Slide">
    <p:spTree>
      <p:nvGrpSpPr>
        <p:cNvPr id="1" name=""/>
        <p:cNvGrpSpPr/>
        <p:nvPr/>
      </p:nvGrpSpPr>
      <p:grpSpPr>
        <a:xfrm>
          <a:off x="0" y="0"/>
          <a:ext cx="0" cy="0"/>
          <a:chOff x="0" y="0"/>
          <a:chExt cx="0" cy="0"/>
        </a:xfrm>
      </p:grpSpPr>
      <p:sp>
        <p:nvSpPr>
          <p:cNvPr id="3" name="Round Diagonal Corner of Rectangle 2">
            <a:extLst>
              <a:ext uri="{FF2B5EF4-FFF2-40B4-BE49-F238E27FC236}">
                <a16:creationId xmlns:a16="http://schemas.microsoft.com/office/drawing/2014/main" id="{15D83FAD-1B52-6144-99D3-35126707592B}"/>
              </a:ext>
            </a:extLst>
          </p:cNvPr>
          <p:cNvSpPr/>
          <p:nvPr userDrawn="1"/>
        </p:nvSpPr>
        <p:spPr>
          <a:xfrm>
            <a:off x="359999" y="1064887"/>
            <a:ext cx="11510008" cy="4406400"/>
          </a:xfrm>
          <a:prstGeom prst="round2DiagRect">
            <a:avLst>
              <a:gd name="adj1" fmla="val 0"/>
              <a:gd name="adj2" fmla="val 909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able Placeholder 4">
            <a:extLst>
              <a:ext uri="{FF2B5EF4-FFF2-40B4-BE49-F238E27FC236}">
                <a16:creationId xmlns:a16="http://schemas.microsoft.com/office/drawing/2014/main" id="{0E14A4CE-8041-8C47-BD66-38793F1AFE25}"/>
              </a:ext>
            </a:extLst>
          </p:cNvPr>
          <p:cNvSpPr>
            <a:spLocks noGrp="1"/>
          </p:cNvSpPr>
          <p:nvPr>
            <p:ph type="tbl" sz="quarter" idx="10"/>
          </p:nvPr>
        </p:nvSpPr>
        <p:spPr>
          <a:xfrm>
            <a:off x="647700" y="1354138"/>
            <a:ext cx="10926763" cy="3865562"/>
          </a:xfrm>
        </p:spPr>
        <p:txBody>
          <a:bodyPr/>
          <a:lstStyle>
            <a:lvl1pPr marL="0" indent="0" algn="ctr">
              <a:buNone/>
              <a:defRPr>
                <a:solidFill>
                  <a:schemeClr val="bg1"/>
                </a:solidFill>
              </a:defRPr>
            </a:lvl1pPr>
          </a:lstStyle>
          <a:p>
            <a:endParaRPr lang="en-US"/>
          </a:p>
        </p:txBody>
      </p:sp>
      <p:sp>
        <p:nvSpPr>
          <p:cNvPr id="6" name="Title Placeholder 2">
            <a:extLst>
              <a:ext uri="{FF2B5EF4-FFF2-40B4-BE49-F238E27FC236}">
                <a16:creationId xmlns:a16="http://schemas.microsoft.com/office/drawing/2014/main" id="{E6DD1E82-391C-8352-91D1-DB53968A1CF8}"/>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7" name="Rectangle 3">
            <a:extLst>
              <a:ext uri="{FF2B5EF4-FFF2-40B4-BE49-F238E27FC236}">
                <a16:creationId xmlns:a16="http://schemas.microsoft.com/office/drawing/2014/main" id="{3334C05F-C050-34DC-B1B6-5A01AF92ACF8}"/>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512508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5" name="Picture Placeholder 24">
            <a:extLst>
              <a:ext uri="{FF2B5EF4-FFF2-40B4-BE49-F238E27FC236}">
                <a16:creationId xmlns:a16="http://schemas.microsoft.com/office/drawing/2014/main" id="{6B0AD233-D136-C04D-91A3-CB4EE52F2FEA}"/>
              </a:ext>
            </a:extLst>
          </p:cNvPr>
          <p:cNvSpPr>
            <a:spLocks noGrp="1"/>
          </p:cNvSpPr>
          <p:nvPr>
            <p:ph type="pic" sz="quarter" idx="15"/>
          </p:nvPr>
        </p:nvSpPr>
        <p:spPr>
          <a:xfrm>
            <a:off x="8197599" y="1080000"/>
            <a:ext cx="3600401" cy="4392836"/>
          </a:xfrm>
          <a:prstGeom prst="round2DiagRect">
            <a:avLst>
              <a:gd name="adj1" fmla="val 0"/>
              <a:gd name="adj2" fmla="val 11175"/>
            </a:avLst>
          </a:prstGeom>
        </p:spPr>
        <p:txBody>
          <a:bodyPr/>
          <a:lstStyle>
            <a:lvl1pPr marL="0" indent="0">
              <a:buNone/>
              <a:defRPr sz="1600"/>
            </a:lvl1pPr>
          </a:lstStyle>
          <a:p>
            <a:r>
              <a:rPr lang="en-US"/>
              <a:t>Click icon to add picture</a:t>
            </a:r>
            <a:endParaRPr lang="en-GB"/>
          </a:p>
        </p:txBody>
      </p:sp>
      <p:sp>
        <p:nvSpPr>
          <p:cNvPr id="6" name="Text Placeholder 4">
            <a:extLst>
              <a:ext uri="{FF2B5EF4-FFF2-40B4-BE49-F238E27FC236}">
                <a16:creationId xmlns:a16="http://schemas.microsoft.com/office/drawing/2014/main" id="{047B6D99-AE24-4E45-946B-9B6CA6928BAA}"/>
              </a:ext>
            </a:extLst>
          </p:cNvPr>
          <p:cNvSpPr>
            <a:spLocks noGrp="1"/>
          </p:cNvSpPr>
          <p:nvPr>
            <p:ph type="body" sz="quarter" idx="17" hasCustomPrompt="1"/>
          </p:nvPr>
        </p:nvSpPr>
        <p:spPr>
          <a:xfrm>
            <a:off x="360000" y="1080000"/>
            <a:ext cx="7533934" cy="4393098"/>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lvl1pPr marL="0" indent="0">
              <a:buFont typeface="Arial" panose="020B0604020202020204" pitchFamily="34" charset="0"/>
              <a:buNone/>
              <a:defRPr lang="en-GB" dirty="0" smtClean="0">
                <a:solidFill>
                  <a:schemeClr val="tx1"/>
                </a:solidFill>
              </a:defRPr>
            </a:lvl1pPr>
            <a:lvl2pPr>
              <a:defRPr lang="en-GB" dirty="0" smtClean="0"/>
            </a:lvl2pPr>
            <a:lvl3pPr marL="963000" indent="0">
              <a:buNone/>
              <a:defRPr lang="en-GB" dirty="0" smtClean="0"/>
            </a:lvl3pPr>
            <a:lvl4pPr>
              <a:defRPr lang="en-GB" dirty="0"/>
            </a:lvl4p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p:txBody>
      </p:sp>
      <p:sp>
        <p:nvSpPr>
          <p:cNvPr id="3" name="Title Placeholder 2">
            <a:extLst>
              <a:ext uri="{FF2B5EF4-FFF2-40B4-BE49-F238E27FC236}">
                <a16:creationId xmlns:a16="http://schemas.microsoft.com/office/drawing/2014/main" id="{A981167F-CF00-290A-36F8-8A1A399D2AF2}"/>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4" name="Slide Number Placeholder 3">
            <a:extLst>
              <a:ext uri="{FF2B5EF4-FFF2-40B4-BE49-F238E27FC236}">
                <a16:creationId xmlns:a16="http://schemas.microsoft.com/office/drawing/2014/main" id="{FE3ED5BF-9732-18EE-1AA5-972CE0A55D24}"/>
              </a:ext>
            </a:extLst>
          </p:cNvPr>
          <p:cNvSpPr>
            <a:spLocks noGrp="1"/>
          </p:cNvSpPr>
          <p:nvPr>
            <p:ph type="sldNum" sz="quarter" idx="4"/>
          </p:nvPr>
        </p:nvSpPr>
        <p:spPr bwMode="auto">
          <a:xfrm>
            <a:off x="11609388" y="5623914"/>
            <a:ext cx="258762" cy="247650"/>
          </a:xfrm>
          <a:prstGeom prst="rect">
            <a:avLst/>
          </a:prstGeom>
          <a:noFill/>
          <a:ln>
            <a:noFill/>
          </a:ln>
          <a:effectLst/>
        </p:spPr>
        <p:txBody>
          <a:bodyPr vert="horz" wrap="none" lIns="45720" tIns="45720" rIns="45720" bIns="45720" numCol="1" anchor="ctr" anchorCtr="0" compatLnSpc="1">
            <a:prstTxWarp prst="textNoShape">
              <a:avLst/>
            </a:prstTxWarp>
          </a:bodyPr>
          <a:lstStyle>
            <a:lvl1pPr algn="r" eaLnBrk="1">
              <a:defRPr sz="1200" smtClean="0">
                <a:solidFill>
                  <a:srgbClr val="8D8D8D"/>
                </a:solidFill>
              </a:defRPr>
            </a:lvl1pPr>
          </a:lstStyle>
          <a:p>
            <a:pPr>
              <a:defRPr/>
            </a:pPr>
            <a:fld id="{D65ACB9B-F2BC-4FE9-9640-F5E580D0F44C}" type="slidenum">
              <a:rPr lang="en-US" altLang="en-US"/>
              <a:pPr>
                <a:defRPr/>
              </a:pPr>
              <a:t>‹#›</a:t>
            </a:fld>
            <a:endParaRPr lang="en-US" altLang="en-US"/>
          </a:p>
        </p:txBody>
      </p:sp>
    </p:spTree>
    <p:extLst>
      <p:ext uri="{BB962C8B-B14F-4D97-AF65-F5344CB8AC3E}">
        <p14:creationId xmlns:p14="http://schemas.microsoft.com/office/powerpoint/2010/main" val="1105057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image" Target="../media/image4.png"/><Relationship Id="rId2" Type="http://schemas.openxmlformats.org/officeDocument/2006/relationships/slideLayout" Target="../slideLayouts/slideLayout5.xml"/><Relationship Id="rId16" Type="http://schemas.openxmlformats.org/officeDocument/2006/relationships/image" Target="../media/image1.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image" Target="../media/image2.emf"/><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9" name="Rectangle 328">
            <a:hlinkClick r:id="" action="ppaction://noaction"/>
          </p:cNvPr>
          <p:cNvSpPr/>
          <p:nvPr userDrawn="1"/>
        </p:nvSpPr>
        <p:spPr>
          <a:xfrm>
            <a:off x="11568113" y="6308725"/>
            <a:ext cx="623887" cy="54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Calibri" panose="020F0502020204030204" pitchFamily="34" charset="0"/>
            </a:endParaRPr>
          </a:p>
        </p:txBody>
      </p:sp>
      <p:pic>
        <p:nvPicPr>
          <p:cNvPr id="6" name="Picture 5" descr="A black background with blue text&#10;&#10;Description automatically generated">
            <a:extLst>
              <a:ext uri="{FF2B5EF4-FFF2-40B4-BE49-F238E27FC236}">
                <a16:creationId xmlns:a16="http://schemas.microsoft.com/office/drawing/2014/main" id="{D831AC5E-389F-42F7-8C2A-63AFC81DB3EF}"/>
              </a:ext>
            </a:extLst>
          </p:cNvPr>
          <p:cNvPicPr>
            <a:picLocks noChangeAspect="1"/>
          </p:cNvPicPr>
          <p:nvPr userDrawn="1"/>
        </p:nvPicPr>
        <p:blipFill>
          <a:blip r:embed="rId5">
            <a:extLst>
              <a:ext uri="{28A0092B-C50C-407E-A947-70E740481C1C}">
                <a14:useLocalDpi xmlns:a14="http://schemas.microsoft.com/office/drawing/2010/main" val="0"/>
              </a:ext>
            </a:extLst>
          </a:blip>
          <a:srcRect r="49934"/>
          <a:stretch/>
        </p:blipFill>
        <p:spPr>
          <a:xfrm>
            <a:off x="386690" y="169816"/>
            <a:ext cx="2690087" cy="1074617"/>
          </a:xfrm>
          <a:prstGeom prst="rect">
            <a:avLst/>
          </a:prstGeom>
        </p:spPr>
      </p:pic>
      <p:grpSp>
        <p:nvGrpSpPr>
          <p:cNvPr id="3" name="Group 2">
            <a:extLst>
              <a:ext uri="{FF2B5EF4-FFF2-40B4-BE49-F238E27FC236}">
                <a16:creationId xmlns:a16="http://schemas.microsoft.com/office/drawing/2014/main" id="{E5BFD201-190D-F410-ED46-427126C116A3}"/>
              </a:ext>
            </a:extLst>
          </p:cNvPr>
          <p:cNvGrpSpPr/>
          <p:nvPr userDrawn="1"/>
        </p:nvGrpSpPr>
        <p:grpSpPr>
          <a:xfrm>
            <a:off x="580990" y="6007314"/>
            <a:ext cx="4219610" cy="680870"/>
            <a:chOff x="426835" y="5987294"/>
            <a:chExt cx="4527622" cy="680870"/>
          </a:xfrm>
        </p:grpSpPr>
        <p:pic>
          <p:nvPicPr>
            <p:cNvPr id="5" name="LOGO">
              <a:extLst>
                <a:ext uri="{FF2B5EF4-FFF2-40B4-BE49-F238E27FC236}">
                  <a16:creationId xmlns:a16="http://schemas.microsoft.com/office/drawing/2014/main" id="{70A36FF6-AC2A-84A6-5C0A-0D06B196FD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26835" y="6031523"/>
              <a:ext cx="2131821" cy="592412"/>
            </a:xfrm>
            <a:prstGeom prst="rect">
              <a:avLst/>
            </a:prstGeom>
          </p:spPr>
        </p:pic>
        <p:pic>
          <p:nvPicPr>
            <p:cNvPr id="8" name="Picture 7" descr="A black background with blue text&#10;&#10;Description automatically generated">
              <a:extLst>
                <a:ext uri="{FF2B5EF4-FFF2-40B4-BE49-F238E27FC236}">
                  <a16:creationId xmlns:a16="http://schemas.microsoft.com/office/drawing/2014/main" id="{C3912A3B-FAFA-D641-AFB8-B571F1D248B1}"/>
                </a:ext>
              </a:extLst>
            </p:cNvPr>
            <p:cNvPicPr>
              <a:picLocks noChangeAspect="1"/>
            </p:cNvPicPr>
            <p:nvPr userDrawn="1"/>
          </p:nvPicPr>
          <p:blipFill>
            <a:blip r:embed="rId7">
              <a:extLst>
                <a:ext uri="{28A0092B-C50C-407E-A947-70E740481C1C}">
                  <a14:useLocalDpi xmlns:a14="http://schemas.microsoft.com/office/drawing/2010/main" val="0"/>
                </a:ext>
              </a:extLst>
            </a:blip>
            <a:srcRect l="59095" t="17259" b="17418"/>
            <a:stretch/>
          </p:blipFill>
          <p:spPr>
            <a:xfrm>
              <a:off x="2822636" y="5987294"/>
              <a:ext cx="2131821" cy="680870"/>
            </a:xfrm>
            <a:prstGeom prst="rect">
              <a:avLst/>
            </a:prstGeom>
          </p:spPr>
        </p:pic>
      </p:grpSp>
      <p:pic>
        <p:nvPicPr>
          <p:cNvPr id="12" name="Picture 11" descr="A gold coin with a person holding a torch&#10;&#10;Description automatically generated">
            <a:extLst>
              <a:ext uri="{FF2B5EF4-FFF2-40B4-BE49-F238E27FC236}">
                <a16:creationId xmlns:a16="http://schemas.microsoft.com/office/drawing/2014/main" id="{6C8CECF2-4CF3-A07F-389F-BF8FFE48413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340300" y="223079"/>
            <a:ext cx="933805" cy="966478"/>
          </a:xfrm>
          <a:prstGeom prst="rect">
            <a:avLst/>
          </a:prstGeom>
        </p:spPr>
      </p:pic>
    </p:spTree>
    <p:extLst>
      <p:ext uri="{BB962C8B-B14F-4D97-AF65-F5344CB8AC3E}">
        <p14:creationId xmlns:p14="http://schemas.microsoft.com/office/powerpoint/2010/main" val="341570051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40" r:id="rId3"/>
  </p:sldLayoutIdLst>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orient="horz" pos="2160">
          <p15:clr>
            <a:srgbClr val="F26B43"/>
          </p15:clr>
        </p15:guide>
        <p15:guide id="4" orient="horz" pos="3838">
          <p15:clr>
            <a:srgbClr val="F26B43"/>
          </p15:clr>
        </p15:guide>
        <p15:guide id="5" pos="7378">
          <p15:clr>
            <a:srgbClr val="F26B43"/>
          </p15:clr>
        </p15:guide>
        <p15:guide id="6" orient="horz" pos="4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ext Placeholder 335">
            <a:extLst>
              <a:ext uri="{FF2B5EF4-FFF2-40B4-BE49-F238E27FC236}">
                <a16:creationId xmlns:a16="http://schemas.microsoft.com/office/drawing/2014/main" id="{5D0A9233-2E30-0146-A29E-D789F857F870}"/>
              </a:ext>
            </a:extLst>
          </p:cNvPr>
          <p:cNvSpPr>
            <a:spLocks noGrp="1"/>
          </p:cNvSpPr>
          <p:nvPr>
            <p:ph type="body" idx="1"/>
            <p:custDataLst>
              <p:tags r:id="rId14"/>
            </p:custDataLst>
          </p:nvPr>
        </p:nvSpPr>
        <p:spPr bwMode="auto">
          <a:xfrm>
            <a:off x="360000" y="1080000"/>
            <a:ext cx="7920530" cy="4392607"/>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rmAutofit/>
          </a:bodyPr>
          <a:lstStyle/>
          <a:p>
            <a:r>
              <a:rPr lang="en-GB"/>
              <a:t>This placeholder text is intended to show correct position and size of text. To ensure you have the correct size, colour and location of the text, it is recommended that you simply select and over-type this placeholder text.</a:t>
            </a:r>
          </a:p>
          <a:p>
            <a:pPr marL="342900" indent="-342900">
              <a:buFont typeface="Arial" panose="020B0604020202020204" pitchFamily="34" charset="0"/>
              <a:buChar char="•"/>
            </a:pPr>
            <a:r>
              <a:rPr lang="en-US"/>
              <a:t>First level bullet point</a:t>
            </a:r>
          </a:p>
          <a:p>
            <a:pPr marL="990900" lvl="1" indent="-342900">
              <a:buFont typeface="Arial" panose="020B0604020202020204" pitchFamily="34" charset="0"/>
              <a:buChar char="•"/>
            </a:pPr>
            <a:r>
              <a:rPr lang="en-US"/>
              <a:t>Second level bullet point</a:t>
            </a:r>
            <a:endParaRPr lang="el-GR"/>
          </a:p>
          <a:p>
            <a:pPr marL="1485900" lvl="2" indent="-342900">
              <a:buFont typeface="Arial" panose="020B0604020202020204" pitchFamily="34" charset="0"/>
              <a:buChar char="•"/>
            </a:pPr>
            <a:r>
              <a:rPr lang="en-US"/>
              <a:t>Third level bullet point</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p:txBody>
      </p:sp>
      <p:cxnSp>
        <p:nvCxnSpPr>
          <p:cNvPr id="5" name="Straight Connector 3">
            <a:extLst>
              <a:ext uri="{FF2B5EF4-FFF2-40B4-BE49-F238E27FC236}">
                <a16:creationId xmlns:a16="http://schemas.microsoft.com/office/drawing/2014/main" id="{605EB62D-A5D2-E019-D7FC-C8002D4F9FE6}"/>
              </a:ext>
            </a:extLst>
          </p:cNvPr>
          <p:cNvCxnSpPr/>
          <p:nvPr userDrawn="1"/>
        </p:nvCxnSpPr>
        <p:spPr bwMode="auto">
          <a:xfrm>
            <a:off x="154832" y="6000082"/>
            <a:ext cx="11940480" cy="0"/>
          </a:xfrm>
          <a:prstGeom prst="line">
            <a:avLst/>
          </a:prstGeom>
          <a:solidFill>
            <a:srgbClr val="FFFFFF"/>
          </a:solidFill>
          <a:ln w="28575" cap="flat" cmpd="sng" algn="ctr">
            <a:solidFill>
              <a:srgbClr val="004393"/>
            </a:solidFill>
            <a:prstDash val="solid"/>
            <a:miter lim="800000"/>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LOGO">
            <a:extLst>
              <a:ext uri="{FF2B5EF4-FFF2-40B4-BE49-F238E27FC236}">
                <a16:creationId xmlns:a16="http://schemas.microsoft.com/office/drawing/2014/main" id="{3E7E770A-C89E-23AF-BE0B-34D186838BC7}"/>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9658036" y="6168488"/>
            <a:ext cx="2083114" cy="578877"/>
          </a:xfrm>
          <a:prstGeom prst="rect">
            <a:avLst/>
          </a:prstGeom>
        </p:spPr>
      </p:pic>
      <p:pic>
        <p:nvPicPr>
          <p:cNvPr id="10" name="Picture 9" descr="A black background with blue text&#10;&#10;Description automatically generated">
            <a:extLst>
              <a:ext uri="{FF2B5EF4-FFF2-40B4-BE49-F238E27FC236}">
                <a16:creationId xmlns:a16="http://schemas.microsoft.com/office/drawing/2014/main" id="{5448253E-0D19-CA02-2144-6A62757269FE}"/>
              </a:ext>
            </a:extLst>
          </p:cNvPr>
          <p:cNvPicPr>
            <a:picLocks noChangeAspect="1"/>
          </p:cNvPicPr>
          <p:nvPr userDrawn="1"/>
        </p:nvPicPr>
        <p:blipFill>
          <a:blip r:embed="rId16">
            <a:extLst>
              <a:ext uri="{28A0092B-C50C-407E-A947-70E740481C1C}">
                <a14:useLocalDpi xmlns:a14="http://schemas.microsoft.com/office/drawing/2010/main" val="0"/>
              </a:ext>
            </a:extLst>
          </a:blip>
          <a:srcRect t="10633" r="49934" b="12669"/>
          <a:stretch/>
        </p:blipFill>
        <p:spPr>
          <a:xfrm>
            <a:off x="231774" y="6099130"/>
            <a:ext cx="2342092" cy="717592"/>
          </a:xfrm>
          <a:prstGeom prst="rect">
            <a:avLst/>
          </a:prstGeom>
        </p:spPr>
      </p:pic>
      <p:sp>
        <p:nvSpPr>
          <p:cNvPr id="12" name="Title Placeholder 2">
            <a:extLst>
              <a:ext uri="{FF2B5EF4-FFF2-40B4-BE49-F238E27FC236}">
                <a16:creationId xmlns:a16="http://schemas.microsoft.com/office/drawing/2014/main" id="{B30640B1-EC88-8675-51DC-F345541BB8B6}"/>
              </a:ext>
            </a:extLst>
          </p:cNvPr>
          <p:cNvSpPr>
            <a:spLocks noGrp="1"/>
          </p:cNvSpPr>
          <p:nvPr>
            <p:ph type="title"/>
          </p:nvPr>
        </p:nvSpPr>
        <p:spPr>
          <a:xfrm>
            <a:off x="340997" y="365474"/>
            <a:ext cx="7939534"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sp>
        <p:nvSpPr>
          <p:cNvPr id="20" name="Slide Number Placeholder 19">
            <a:extLst>
              <a:ext uri="{FF2B5EF4-FFF2-40B4-BE49-F238E27FC236}">
                <a16:creationId xmlns:a16="http://schemas.microsoft.com/office/drawing/2014/main" id="{8895DD7D-4EEB-F51E-1F1E-B0BF48F69C41}"/>
              </a:ext>
            </a:extLst>
          </p:cNvPr>
          <p:cNvSpPr>
            <a:spLocks noGrp="1"/>
          </p:cNvSpPr>
          <p:nvPr>
            <p:ph type="sldNum" sz="quarter" idx="4"/>
          </p:nvPr>
        </p:nvSpPr>
        <p:spPr>
          <a:xfrm>
            <a:off x="11609388" y="5623914"/>
            <a:ext cx="258762" cy="247650"/>
          </a:xfrm>
          <a:prstGeom prst="rect">
            <a:avLst/>
          </a:prstGeom>
          <a:ln/>
        </p:spPr>
        <p:txBody>
          <a:bodyPr/>
          <a:lstStyle>
            <a:lvl1pPr>
              <a:defRPr sz="1600"/>
            </a:lvl1pPr>
          </a:lstStyle>
          <a:p>
            <a:pPr>
              <a:defRPr/>
            </a:pPr>
            <a:endParaRPr lang="en-US" altLang="en-US"/>
          </a:p>
        </p:txBody>
      </p:sp>
      <p:pic>
        <p:nvPicPr>
          <p:cNvPr id="23" name="Picture 22" descr="A gold coin with a person holding a torch&#10;&#10;Description automatically generated">
            <a:extLst>
              <a:ext uri="{FF2B5EF4-FFF2-40B4-BE49-F238E27FC236}">
                <a16:creationId xmlns:a16="http://schemas.microsoft.com/office/drawing/2014/main" id="{7AEEC472-B3F8-F69F-6124-5F3647D1FB3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5673585" y="6000082"/>
            <a:ext cx="884732" cy="915688"/>
          </a:xfrm>
          <a:prstGeom prst="rect">
            <a:avLst/>
          </a:prstGeom>
        </p:spPr>
      </p:pic>
    </p:spTree>
    <p:extLst>
      <p:ext uri="{BB962C8B-B14F-4D97-AF65-F5344CB8AC3E}">
        <p14:creationId xmlns:p14="http://schemas.microsoft.com/office/powerpoint/2010/main" val="175743260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hf hdr="0" ftr="0" dt="0"/>
  <p:txStyles>
    <p:titleStyle>
      <a:lvl1pPr marL="0" indent="0" algn="l" defTabSz="914400" rtl="0" eaLnBrk="1" latinLnBrk="0" hangingPunct="1">
        <a:lnSpc>
          <a:spcPct val="100000"/>
        </a:lnSpc>
        <a:spcBef>
          <a:spcPct val="20000"/>
        </a:spcBef>
        <a:spcAft>
          <a:spcPts val="0"/>
        </a:spcAft>
        <a:buNone/>
        <a:defRPr kumimoji="0" sz="4000" b="0" i="0" u="none" kern="1200" cap="none" baseline="0">
          <a:solidFill>
            <a:schemeClr val="tx2"/>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ct val="95000"/>
        </a:lnSpc>
        <a:spcBef>
          <a:spcPts val="500"/>
        </a:spcBef>
        <a:spcAft>
          <a:spcPts val="500"/>
        </a:spcAft>
        <a:buClr>
          <a:srgbClr val="6BB745"/>
        </a:buClr>
        <a:buSzPct val="100000"/>
        <a:buFont typeface="Arial" panose="020B0604020202020204" pitchFamily="34" charset="0"/>
        <a:buNone/>
        <a:defRPr kumimoji="0" sz="2400" b="0" i="0" u="none" kern="1200" baseline="0">
          <a:solidFill>
            <a:srgbClr val="333333"/>
          </a:solidFill>
          <a:latin typeface="+mn-lt"/>
          <a:ea typeface="+mn-ea"/>
          <a:cs typeface="Calibri Light" panose="020F0302020204030204" pitchFamily="34" charset="0"/>
        </a:defRPr>
      </a:lvl1pPr>
      <a:lvl2pPr marL="648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400" b="0" i="0" u="none" kern="1200" baseline="0">
          <a:solidFill>
            <a:srgbClr val="333333"/>
          </a:solidFill>
          <a:latin typeface="+mn-lt"/>
          <a:ea typeface="Calibri Light" panose="020F0302020204030204" pitchFamily="34" charset="0"/>
          <a:cs typeface="Calibri Light" panose="020F0302020204030204" pitchFamily="34" charset="0"/>
        </a:defRPr>
      </a:lvl2pPr>
      <a:lvl3pPr marL="11430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400" b="0" i="0" u="none" kern="1200" baseline="0">
          <a:solidFill>
            <a:srgbClr val="333333"/>
          </a:solidFill>
          <a:latin typeface="+mn-lt"/>
          <a:ea typeface="+mn-ea"/>
          <a:cs typeface="+mn-cs"/>
        </a:defRPr>
      </a:lvl3pPr>
      <a:lvl4pPr marL="1600200" indent="-180000" algn="l" defTabSz="914400" rtl="0" eaLnBrk="1" latinLnBrk="0" hangingPunct="1">
        <a:lnSpc>
          <a:spcPct val="95000"/>
        </a:lnSpc>
        <a:spcBef>
          <a:spcPts val="500"/>
        </a:spcBef>
        <a:spcAft>
          <a:spcPts val="500"/>
        </a:spcAft>
        <a:buClr>
          <a:srgbClr val="6BB745"/>
        </a:buClr>
        <a:buSzPct val="100000"/>
        <a:buFont typeface="Arial" pitchFamily="34" charset="0"/>
        <a:buChar char="•"/>
        <a:defRPr kumimoji="0" sz="2000" b="0" i="0" u="none" kern="1200" baseline="0">
          <a:solidFill>
            <a:srgbClr val="333333"/>
          </a:solidFill>
          <a:latin typeface="Calibri" panose="020F0502020204030204" pitchFamily="34" charset="0"/>
          <a:ea typeface="+mn-ea"/>
          <a:cs typeface="+mn-cs"/>
        </a:defRPr>
      </a:lvl4pPr>
      <a:lvl5pPr marL="2057400" indent="-228600" algn="l" defTabSz="914400" rtl="0" eaLnBrk="1" latinLnBrk="0" hangingPunct="1">
        <a:lnSpc>
          <a:spcPct val="95000"/>
        </a:lnSpc>
        <a:spcBef>
          <a:spcPts val="500"/>
        </a:spcBef>
        <a:spcAft>
          <a:spcPts val="50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orient="horz" pos="346">
          <p15:clr>
            <a:srgbClr val="F26B43"/>
          </p15:clr>
        </p15:guide>
        <p15:guide id="3" pos="7287">
          <p15:clr>
            <a:srgbClr val="F26B43"/>
          </p15:clr>
        </p15:guide>
        <p15:guide id="4" orient="horz" pos="3974">
          <p15:clr>
            <a:srgbClr val="F26B43"/>
          </p15:clr>
        </p15:guide>
        <p15:guide id="5" orient="horz" pos="754">
          <p15:clr>
            <a:srgbClr val="F26B43"/>
          </p15:clr>
        </p15:guide>
        <p15:guide id="6" orient="horz" pos="618">
          <p15:clr>
            <a:srgbClr val="F26B43"/>
          </p15:clr>
        </p15:guide>
        <p15:guide id="7" pos="4294">
          <p15:clr>
            <a:srgbClr val="F26B43"/>
          </p15:clr>
        </p15:guide>
        <p15:guide id="8" pos="4747">
          <p15:clr>
            <a:srgbClr val="F26B43"/>
          </p15:clr>
        </p15:guide>
        <p15:guide id="9" pos="5382">
          <p15:clr>
            <a:srgbClr val="F26B43"/>
          </p15:clr>
        </p15:guide>
        <p15:guide id="10" orient="horz" pos="35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F9D826-56E8-8F45-92BF-C657D979228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5760000"/>
            <a:ext cx="12192000" cy="266700"/>
          </a:xfrm>
          <a:prstGeom prst="rect">
            <a:avLst/>
          </a:prstGeom>
        </p:spPr>
      </p:pic>
      <p:sp>
        <p:nvSpPr>
          <p:cNvPr id="11" name="Slide Number Placeholder 1">
            <a:extLst>
              <a:ext uri="{FF2B5EF4-FFF2-40B4-BE49-F238E27FC236}">
                <a16:creationId xmlns:a16="http://schemas.microsoft.com/office/drawing/2014/main" id="{23801010-19F0-ED4E-8CC6-C768A608BBB5}"/>
              </a:ext>
            </a:extLst>
          </p:cNvPr>
          <p:cNvSpPr>
            <a:spLocks noGrp="1"/>
          </p:cNvSpPr>
          <p:nvPr>
            <p:ph type="sldNum" sz="quarter" idx="4"/>
          </p:nvPr>
        </p:nvSpPr>
        <p:spPr>
          <a:xfrm>
            <a:off x="11024190" y="6203783"/>
            <a:ext cx="750809" cy="365125"/>
          </a:xfrm>
          <a:prstGeom prst="rect">
            <a:avLst/>
          </a:prstGeom>
          <a:ln>
            <a:noFill/>
          </a:ln>
        </p:spPr>
        <p:txBody>
          <a:bodyPr vert="horz" lIns="0" tIns="0" rIns="0" bIns="0" rtlCol="0" anchor="ctr"/>
          <a:lstStyle>
            <a:lvl1pPr algn="r">
              <a:defRPr sz="1200">
                <a:solidFill>
                  <a:schemeClr val="bg1"/>
                </a:solidFill>
              </a:defRPr>
            </a:lvl1pPr>
          </a:lstStyle>
          <a:p>
            <a:fld id="{28A3D32B-9EE4-634E-8394-5B7C42BAEC12}" type="slidenum">
              <a:rPr lang="en-US" smtClean="0"/>
              <a:pPr/>
              <a:t>‹#›</a:t>
            </a:fld>
            <a:endParaRPr lang="en-US">
              <a:solidFill>
                <a:schemeClr val="bg1"/>
              </a:solidFill>
            </a:endParaRPr>
          </a:p>
        </p:txBody>
      </p:sp>
      <p:pic>
        <p:nvPicPr>
          <p:cNvPr id="12" name="Picture 11">
            <a:extLst>
              <a:ext uri="{FF2B5EF4-FFF2-40B4-BE49-F238E27FC236}">
                <a16:creationId xmlns:a16="http://schemas.microsoft.com/office/drawing/2014/main" id="{1DC96C99-57E1-0448-A18A-06C070F689CE}"/>
              </a:ext>
            </a:extLst>
          </p:cNvPr>
          <p:cNvPicPr>
            <a:picLocks noChangeAspect="1"/>
          </p:cNvPicPr>
          <p:nvPr userDrawn="1"/>
        </p:nvPicPr>
        <p:blipFill>
          <a:blip r:embed="rId6" cstate="email">
            <a:extLst>
              <a:ext uri="{28A0092B-C50C-407E-A947-70E740481C1C}">
                <a14:useLocalDpi xmlns:a14="http://schemas.microsoft.com/office/drawing/2010/main"/>
              </a:ext>
            </a:extLst>
          </a:blip>
          <a:srcRect r="42941"/>
          <a:stretch/>
        </p:blipFill>
        <p:spPr>
          <a:xfrm>
            <a:off x="4932903" y="5992188"/>
            <a:ext cx="2491990" cy="788315"/>
          </a:xfrm>
          <a:prstGeom prst="rect">
            <a:avLst/>
          </a:prstGeom>
        </p:spPr>
      </p:pic>
      <p:pic>
        <p:nvPicPr>
          <p:cNvPr id="4" name="Picture 3" descr="A black background with white text&#10;&#10;Description automatically generated">
            <a:extLst>
              <a:ext uri="{FF2B5EF4-FFF2-40B4-BE49-F238E27FC236}">
                <a16:creationId xmlns:a16="http://schemas.microsoft.com/office/drawing/2014/main" id="{F4619306-7997-2E0C-DB4E-99A8F28F9E8F}"/>
              </a:ext>
            </a:extLst>
          </p:cNvPr>
          <p:cNvPicPr>
            <a:picLocks noChangeAspect="1"/>
          </p:cNvPicPr>
          <p:nvPr userDrawn="1"/>
        </p:nvPicPr>
        <p:blipFill>
          <a:blip r:embed="rId7">
            <a:extLst>
              <a:ext uri="{28A0092B-C50C-407E-A947-70E740481C1C}">
                <a14:useLocalDpi xmlns:a14="http://schemas.microsoft.com/office/drawing/2010/main" val="0"/>
              </a:ext>
            </a:extLst>
          </a:blip>
          <a:srcRect t="14679" r="46337" b="14923"/>
          <a:stretch/>
        </p:blipFill>
        <p:spPr>
          <a:xfrm>
            <a:off x="417001" y="6036469"/>
            <a:ext cx="2667006" cy="699753"/>
          </a:xfrm>
          <a:prstGeom prst="rect">
            <a:avLst/>
          </a:prstGeom>
        </p:spPr>
      </p:pic>
      <p:sp>
        <p:nvSpPr>
          <p:cNvPr id="6" name="Title Placeholder 2">
            <a:extLst>
              <a:ext uri="{FF2B5EF4-FFF2-40B4-BE49-F238E27FC236}">
                <a16:creationId xmlns:a16="http://schemas.microsoft.com/office/drawing/2014/main" id="{8D56540E-D666-0E13-A23B-929DCF6A36A1}"/>
              </a:ext>
            </a:extLst>
          </p:cNvPr>
          <p:cNvSpPr>
            <a:spLocks noGrp="1"/>
          </p:cNvSpPr>
          <p:nvPr>
            <p:ph type="title"/>
          </p:nvPr>
        </p:nvSpPr>
        <p:spPr>
          <a:xfrm>
            <a:off x="340996" y="365474"/>
            <a:ext cx="11510008" cy="492443"/>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marL="0" lvl="0" indent="0">
              <a:lnSpc>
                <a:spcPct val="100000"/>
              </a:lnSpc>
              <a:spcBef>
                <a:spcPct val="20000"/>
              </a:spcBef>
              <a:spcAft>
                <a:spcPts val="0"/>
              </a:spcAft>
            </a:pPr>
            <a:r>
              <a:rPr lang="en-US"/>
              <a:t>Title</a:t>
            </a:r>
            <a:endParaRPr lang="en-GB"/>
          </a:p>
        </p:txBody>
      </p:sp>
      <p:pic>
        <p:nvPicPr>
          <p:cNvPr id="8" name="Picture 7" descr="A black background with white text&#10;&#10;Description automatically generated">
            <a:extLst>
              <a:ext uri="{FF2B5EF4-FFF2-40B4-BE49-F238E27FC236}">
                <a16:creationId xmlns:a16="http://schemas.microsoft.com/office/drawing/2014/main" id="{6800454E-AEC8-2B1A-3260-960335636693}"/>
              </a:ext>
            </a:extLst>
          </p:cNvPr>
          <p:cNvPicPr>
            <a:picLocks noChangeAspect="1"/>
          </p:cNvPicPr>
          <p:nvPr userDrawn="1"/>
        </p:nvPicPr>
        <p:blipFill>
          <a:blip r:embed="rId7">
            <a:extLst>
              <a:ext uri="{28A0092B-C50C-407E-A947-70E740481C1C}">
                <a14:useLocalDpi xmlns:a14="http://schemas.microsoft.com/office/drawing/2010/main" val="0"/>
              </a:ext>
            </a:extLst>
          </a:blip>
          <a:srcRect l="56346" t="14990" r="-1" b="14612"/>
          <a:stretch/>
        </p:blipFill>
        <p:spPr>
          <a:xfrm>
            <a:off x="7424893" y="6036469"/>
            <a:ext cx="2169607" cy="699753"/>
          </a:xfrm>
          <a:prstGeom prst="rect">
            <a:avLst/>
          </a:prstGeom>
        </p:spPr>
      </p:pic>
      <p:pic>
        <p:nvPicPr>
          <p:cNvPr id="14" name="Picture 13" descr="A gold coin with a person holding a torch&#10;&#10;Description automatically generated">
            <a:extLst>
              <a:ext uri="{FF2B5EF4-FFF2-40B4-BE49-F238E27FC236}">
                <a16:creationId xmlns:a16="http://schemas.microsoft.com/office/drawing/2014/main" id="{1ACF7656-10D3-B117-F82A-A6B6C4F5735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084007" y="5928501"/>
            <a:ext cx="884732" cy="915688"/>
          </a:xfrm>
          <a:prstGeom prst="rect">
            <a:avLst/>
          </a:prstGeom>
        </p:spPr>
      </p:pic>
    </p:spTree>
    <p:extLst>
      <p:ext uri="{BB962C8B-B14F-4D97-AF65-F5344CB8AC3E}">
        <p14:creationId xmlns:p14="http://schemas.microsoft.com/office/powerpoint/2010/main" val="125513559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1" r:id="rId3"/>
  </p:sldLayoutIdLst>
  <p:hf hdr="0" ftr="0" dt="0"/>
  <p:txStyles>
    <p:titleStyle>
      <a:lvl1pPr algn="l" defTabSz="914400" rtl="0" eaLnBrk="1" latinLnBrk="0" hangingPunct="1">
        <a:spcBef>
          <a:spcPct val="0"/>
        </a:spcBef>
        <a:buNone/>
        <a:defRPr kumimoji="0" lang="en-GB" sz="4000" b="0" i="0" u="none" kern="1200" baseline="0">
          <a:solidFill>
            <a:srgbClr val="034EA2"/>
          </a:solidFill>
          <a:latin typeface="Calibri Light" panose="020F0302020204030204" pitchFamily="34" charset="0"/>
          <a:ea typeface="Calibri Light" panose="020F0302020204030204" pitchFamily="34" charset="0"/>
          <a:cs typeface="Calibri Light" panose="020F0302020204030204"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orient="horz" pos="2160">
          <p15:clr>
            <a:srgbClr val="F26B43"/>
          </p15:clr>
        </p15:guide>
        <p15:guide id="4" orient="horz" pos="3838">
          <p15:clr>
            <a:srgbClr val="F26B43"/>
          </p15:clr>
        </p15:guide>
        <p15:guide id="5" pos="7378">
          <p15:clr>
            <a:srgbClr val="F26B43"/>
          </p15:clr>
        </p15:guide>
        <p15:guide id="6" orient="horz" pos="4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43.jpeg"/></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4.emf"/><Relationship Id="rId7" Type="http://schemas.openxmlformats.org/officeDocument/2006/relationships/image" Target="../media/image48.pn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47.emf"/><Relationship Id="rId5" Type="http://schemas.openxmlformats.org/officeDocument/2006/relationships/image" Target="../media/image46.png"/><Relationship Id="rId4" Type="http://schemas.openxmlformats.org/officeDocument/2006/relationships/image" Target="../media/image45.emf"/></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2.jpeg"/><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notesSlide" Target="../notesSlides/notesSlide5.xml"/><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slideLayout" Target="../slideLayouts/slideLayout13.xml"/><Relationship Id="rId16" Type="http://schemas.openxmlformats.org/officeDocument/2006/relationships/image" Target="../media/image12.png"/><Relationship Id="rId1" Type="http://schemas.openxmlformats.org/officeDocument/2006/relationships/tags" Target="../tags/tag9.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emf"/><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oleObject" Target="../embeddings/oleObject2.bin"/><Relationship Id="rId9" Type="http://schemas.openxmlformats.org/officeDocument/2006/relationships/image" Target="../media/image21.sv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29.jpeg"/><Relationship Id="rId4" Type="http://schemas.openxmlformats.org/officeDocument/2006/relationships/diagramLayout" Target="../diagrams/layout2.xml"/><Relationship Id="rId9"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2.png"/><Relationship Id="rId7"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32.jpeg"/><Relationship Id="rId10" Type="http://schemas.openxmlformats.org/officeDocument/2006/relationships/image" Target="../media/image37.png"/><Relationship Id="rId4" Type="http://schemas.openxmlformats.org/officeDocument/2006/relationships/image" Target="../media/image31.jpe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31282-5B67-DCE1-6DF8-55F3187DBC83}"/>
              </a:ext>
            </a:extLst>
          </p:cNvPr>
          <p:cNvSpPr>
            <a:spLocks noGrp="1"/>
          </p:cNvSpPr>
          <p:nvPr>
            <p:ph type="body" sz="quarter" idx="13"/>
          </p:nvPr>
        </p:nvSpPr>
        <p:spPr>
          <a:xfrm>
            <a:off x="386690" y="4374789"/>
            <a:ext cx="5463504" cy="767482"/>
          </a:xfrm>
        </p:spPr>
        <p:txBody>
          <a:bodyPr/>
          <a:lstStyle/>
          <a:p>
            <a:r>
              <a:rPr lang="en-US"/>
              <a:t>Mathieu Vallart | Sustainability Director,</a:t>
            </a:r>
            <a:r>
              <a:rPr lang="en-GB"/>
              <a:t> Hellas Gold</a:t>
            </a:r>
            <a:endParaRPr lang="en-US"/>
          </a:p>
        </p:txBody>
      </p:sp>
      <p:sp>
        <p:nvSpPr>
          <p:cNvPr id="4" name="Title 3">
            <a:extLst>
              <a:ext uri="{FF2B5EF4-FFF2-40B4-BE49-F238E27FC236}">
                <a16:creationId xmlns:a16="http://schemas.microsoft.com/office/drawing/2014/main" id="{D5617B33-FBFE-73F9-F69A-5118FBEC92E8}"/>
              </a:ext>
            </a:extLst>
          </p:cNvPr>
          <p:cNvSpPr>
            <a:spLocks noGrp="1"/>
          </p:cNvSpPr>
          <p:nvPr>
            <p:ph type="title"/>
          </p:nvPr>
        </p:nvSpPr>
        <p:spPr>
          <a:xfrm>
            <a:off x="386690" y="2733368"/>
            <a:ext cx="4704523" cy="958098"/>
          </a:xfrm>
        </p:spPr>
        <p:txBody>
          <a:bodyPr/>
          <a:lstStyle/>
          <a:p>
            <a:r>
              <a:rPr lang="en-US" sz="1800" b="1" i="1">
                <a:effectLst/>
                <a:latin typeface="Aptos" panose="020B0004020202020204" pitchFamily="34" charset="0"/>
                <a:ea typeface="Aptos" panose="020B0004020202020204" pitchFamily="34" charset="0"/>
                <a:cs typeface="Times New Roman" panose="02020603050405020304" pitchFamily="18" charset="0"/>
              </a:rPr>
              <a:t>Empowering Sustainable Mining: Building Public Trust Through Transparent Practices and Community Engagement</a:t>
            </a:r>
            <a:endParaRPr lang="en-US"/>
          </a:p>
        </p:txBody>
      </p:sp>
      <p:pic>
        <p:nvPicPr>
          <p:cNvPr id="16" name="Picture Placeholder 15" descr="A hand holding a piece of wood&#10;&#10;Description automatically generated">
            <a:extLst>
              <a:ext uri="{FF2B5EF4-FFF2-40B4-BE49-F238E27FC236}">
                <a16:creationId xmlns:a16="http://schemas.microsoft.com/office/drawing/2014/main" id="{33E066D2-F56B-B4B4-D09B-2C53DFCD92A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758" t="2291" r="39725" b="2291"/>
          <a:stretch/>
        </p:blipFill>
        <p:spPr>
          <a:xfrm flipH="1">
            <a:off x="6427805" y="-66840"/>
            <a:ext cx="6992007" cy="6991680"/>
          </a:xfrm>
        </p:spPr>
      </p:pic>
    </p:spTree>
    <p:extLst>
      <p:ext uri="{BB962C8B-B14F-4D97-AF65-F5344CB8AC3E}">
        <p14:creationId xmlns:p14="http://schemas.microsoft.com/office/powerpoint/2010/main" val="4088308952"/>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39E68-5DF1-D805-7E62-DA2521896B6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F490A93-2A35-A201-9305-7259123FD296}"/>
              </a:ext>
            </a:extLst>
          </p:cNvPr>
          <p:cNvSpPr>
            <a:spLocks noGrp="1"/>
          </p:cNvSpPr>
          <p:nvPr>
            <p:ph type="title"/>
          </p:nvPr>
        </p:nvSpPr>
        <p:spPr>
          <a:xfrm>
            <a:off x="340996" y="365474"/>
            <a:ext cx="7552938" cy="492443"/>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GB" sz="2400">
                <a:latin typeface="Calibri Light"/>
                <a:cs typeface="Calibri Light"/>
              </a:rPr>
              <a:t>Innovative Environmental Practices &amp; Biodiversity Protection</a:t>
            </a:r>
            <a:endParaRPr lang="en-US" sz="2400">
              <a:latin typeface="Calibri Light"/>
              <a:cs typeface="Calibri Light"/>
            </a:endParaRPr>
          </a:p>
        </p:txBody>
      </p:sp>
      <p:sp>
        <p:nvSpPr>
          <p:cNvPr id="4" name="Slide Number Placeholder 3">
            <a:extLst>
              <a:ext uri="{FF2B5EF4-FFF2-40B4-BE49-F238E27FC236}">
                <a16:creationId xmlns:a16="http://schemas.microsoft.com/office/drawing/2014/main" id="{A9B209B7-B9E3-8FE6-8E5D-7A128720B97B}"/>
              </a:ext>
            </a:extLst>
          </p:cNvPr>
          <p:cNvSpPr>
            <a:spLocks noGrp="1"/>
          </p:cNvSpPr>
          <p:nvPr>
            <p:ph type="sldNum" sz="quarter" idx="4"/>
          </p:nvPr>
        </p:nvSpPr>
        <p:spPr/>
        <p:txBody>
          <a:bodyPr/>
          <a:lstStyle/>
          <a:p>
            <a:pPr>
              <a:defRPr/>
            </a:pPr>
            <a:fld id="{D65ACB9B-F2BC-4FE9-9640-F5E580D0F44C}" type="slidenum">
              <a:rPr lang="en-US" altLang="en-US" smtClean="0"/>
              <a:pPr>
                <a:defRPr/>
              </a:pPr>
              <a:t>10</a:t>
            </a:fld>
            <a:endParaRPr lang="en-US" altLang="en-US"/>
          </a:p>
        </p:txBody>
      </p:sp>
      <p:pic>
        <p:nvPicPr>
          <p:cNvPr id="2" name="Picture 1">
            <a:extLst>
              <a:ext uri="{FF2B5EF4-FFF2-40B4-BE49-F238E27FC236}">
                <a16:creationId xmlns:a16="http://schemas.microsoft.com/office/drawing/2014/main" id="{E190FD2D-A7F8-8508-214A-C4FF4D710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sp>
        <p:nvSpPr>
          <p:cNvPr id="34" name="Freeform: Shape 33">
            <a:extLst>
              <a:ext uri="{FF2B5EF4-FFF2-40B4-BE49-F238E27FC236}">
                <a16:creationId xmlns:a16="http://schemas.microsoft.com/office/drawing/2014/main" id="{A80BEDAB-427E-1910-3B2E-7D18EC854ABD}"/>
              </a:ext>
            </a:extLst>
          </p:cNvPr>
          <p:cNvSpPr/>
          <p:nvPr/>
        </p:nvSpPr>
        <p:spPr>
          <a:xfrm>
            <a:off x="2165542"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5340456"/>
              <a:satOff val="13942"/>
              <a:lumOff val="12941"/>
              <a:alphaOff val="0"/>
            </a:schemeClr>
          </a:fillRef>
          <a:effectRef idx="0">
            <a:schemeClr val="accent4">
              <a:alpha val="50000"/>
              <a:hueOff val="-5340456"/>
              <a:satOff val="13942"/>
              <a:lumOff val="12941"/>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Reclamation of legacy mine sites</a:t>
            </a:r>
            <a:endParaRPr lang="en-GB" sz="1600" kern="1200"/>
          </a:p>
        </p:txBody>
      </p:sp>
      <p:grpSp>
        <p:nvGrpSpPr>
          <p:cNvPr id="42" name="Group 41">
            <a:extLst>
              <a:ext uri="{FF2B5EF4-FFF2-40B4-BE49-F238E27FC236}">
                <a16:creationId xmlns:a16="http://schemas.microsoft.com/office/drawing/2014/main" id="{3B4DB9BA-54AB-8EB4-75ED-BAA062880183}"/>
              </a:ext>
            </a:extLst>
          </p:cNvPr>
          <p:cNvGrpSpPr/>
          <p:nvPr/>
        </p:nvGrpSpPr>
        <p:grpSpPr>
          <a:xfrm>
            <a:off x="3866176" y="1056278"/>
            <a:ext cx="8046345" cy="5723972"/>
            <a:chOff x="3866176" y="1056278"/>
            <a:chExt cx="8046345" cy="5723972"/>
          </a:xfrm>
        </p:grpSpPr>
        <p:sp>
          <p:nvSpPr>
            <p:cNvPr id="35" name="Freeform: Shape 34">
              <a:extLst>
                <a:ext uri="{FF2B5EF4-FFF2-40B4-BE49-F238E27FC236}">
                  <a16:creationId xmlns:a16="http://schemas.microsoft.com/office/drawing/2014/main" id="{E4113D97-94A1-F442-E048-6BEF2D220034}"/>
                </a:ext>
              </a:extLst>
            </p:cNvPr>
            <p:cNvSpPr/>
            <p:nvPr/>
          </p:nvSpPr>
          <p:spPr>
            <a:xfrm>
              <a:off x="3866176"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10680912"/>
                <a:satOff val="27885"/>
                <a:lumOff val="25883"/>
                <a:alphaOff val="0"/>
              </a:schemeClr>
            </a:fillRef>
            <a:effectRef idx="0">
              <a:schemeClr val="accent4">
                <a:alpha val="50000"/>
                <a:hueOff val="-10680912"/>
                <a:satOff val="27885"/>
                <a:lumOff val="25883"/>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Advanced Environmental monitoring systems</a:t>
              </a:r>
              <a:endParaRPr lang="en-GB" sz="1600" kern="1200"/>
            </a:p>
          </p:txBody>
        </p:sp>
        <p:grpSp>
          <p:nvGrpSpPr>
            <p:cNvPr id="41" name="Group 40">
              <a:extLst>
                <a:ext uri="{FF2B5EF4-FFF2-40B4-BE49-F238E27FC236}">
                  <a16:creationId xmlns:a16="http://schemas.microsoft.com/office/drawing/2014/main" id="{6ADC4DA1-7F2C-DB3F-D724-224FBF9FB227}"/>
                </a:ext>
              </a:extLst>
            </p:cNvPr>
            <p:cNvGrpSpPr/>
            <p:nvPr/>
          </p:nvGrpSpPr>
          <p:grpSpPr>
            <a:xfrm>
              <a:off x="5779820" y="1537913"/>
              <a:ext cx="6132701" cy="5242337"/>
              <a:chOff x="11839169" y="587109"/>
              <a:chExt cx="6132701" cy="5242337"/>
            </a:xfrm>
          </p:grpSpPr>
          <p:pic>
            <p:nvPicPr>
              <p:cNvPr id="37" name="Picture 36" descr="A picture containing tree, outdoor, transport&#10;&#10;Description automatically generated">
                <a:extLst>
                  <a:ext uri="{FF2B5EF4-FFF2-40B4-BE49-F238E27FC236}">
                    <a16:creationId xmlns:a16="http://schemas.microsoft.com/office/drawing/2014/main" id="{13E41443-8495-97E6-4127-8B284E677B56}"/>
                  </a:ext>
                </a:extLst>
              </p:cNvPr>
              <p:cNvPicPr>
                <a:picLocks noChangeAspect="1"/>
              </p:cNvPicPr>
              <p:nvPr/>
            </p:nvPicPr>
            <p:blipFill rotWithShape="1">
              <a:blip r:embed="rId4"/>
              <a:srcRect l="35547" t="15414" b="10664"/>
              <a:stretch/>
            </p:blipFill>
            <p:spPr>
              <a:xfrm>
                <a:off x="11839169" y="2020429"/>
                <a:ext cx="2588588" cy="1975239"/>
              </a:xfrm>
              <a:prstGeom prst="rect">
                <a:avLst/>
              </a:prstGeom>
            </p:spPr>
          </p:pic>
          <p:pic>
            <p:nvPicPr>
              <p:cNvPr id="38" name="Picture 37" descr="A picture containing outdoor, grass&#10;&#10;Description automatically generated">
                <a:extLst>
                  <a:ext uri="{FF2B5EF4-FFF2-40B4-BE49-F238E27FC236}">
                    <a16:creationId xmlns:a16="http://schemas.microsoft.com/office/drawing/2014/main" id="{4058661F-D088-2FB3-6210-D7DF1695DF22}"/>
                  </a:ext>
                </a:extLst>
              </p:cNvPr>
              <p:cNvPicPr>
                <a:picLocks noChangeAspect="1"/>
              </p:cNvPicPr>
              <p:nvPr/>
            </p:nvPicPr>
            <p:blipFill>
              <a:blip r:embed="rId5"/>
              <a:srcRect b="16773"/>
              <a:stretch/>
            </p:blipFill>
            <p:spPr>
              <a:xfrm>
                <a:off x="12688527" y="3617780"/>
                <a:ext cx="1714820" cy="2143736"/>
              </a:xfrm>
              <a:prstGeom prst="rect">
                <a:avLst/>
              </a:prstGeom>
            </p:spPr>
          </p:pic>
          <p:pic>
            <p:nvPicPr>
              <p:cNvPr id="39" name="Picture 38" descr="A picture containing water, outdoor&#10;&#10;Description automatically generated">
                <a:extLst>
                  <a:ext uri="{FF2B5EF4-FFF2-40B4-BE49-F238E27FC236}">
                    <a16:creationId xmlns:a16="http://schemas.microsoft.com/office/drawing/2014/main" id="{7F8EE37E-6399-AFFA-7D6D-D57C10260519}"/>
                  </a:ext>
                </a:extLst>
              </p:cNvPr>
              <p:cNvPicPr>
                <a:picLocks noChangeAspect="1"/>
              </p:cNvPicPr>
              <p:nvPr/>
            </p:nvPicPr>
            <p:blipFill>
              <a:blip r:embed="rId6"/>
              <a:stretch>
                <a:fillRect/>
              </a:stretch>
            </p:blipFill>
            <p:spPr>
              <a:xfrm>
                <a:off x="12114911" y="587109"/>
                <a:ext cx="2620904" cy="1748821"/>
              </a:xfrm>
              <a:prstGeom prst="rect">
                <a:avLst/>
              </a:prstGeom>
            </p:spPr>
          </p:pic>
          <p:pic>
            <p:nvPicPr>
              <p:cNvPr id="40" name="Picture 39">
                <a:extLst>
                  <a:ext uri="{FF2B5EF4-FFF2-40B4-BE49-F238E27FC236}">
                    <a16:creationId xmlns:a16="http://schemas.microsoft.com/office/drawing/2014/main" id="{E6B373CE-042A-7F13-8A83-ABDC00695E89}"/>
                  </a:ext>
                </a:extLst>
              </p:cNvPr>
              <p:cNvPicPr>
                <a:picLocks noChangeAspect="1"/>
              </p:cNvPicPr>
              <p:nvPr/>
            </p:nvPicPr>
            <p:blipFill>
              <a:blip r:embed="rId7"/>
              <a:srcRect/>
              <a:stretch/>
            </p:blipFill>
            <p:spPr>
              <a:xfrm>
                <a:off x="14716356" y="587109"/>
                <a:ext cx="3255514" cy="5242337"/>
              </a:xfrm>
              <a:prstGeom prst="rect">
                <a:avLst/>
              </a:prstGeom>
            </p:spPr>
          </p:pic>
        </p:grpSp>
      </p:grpSp>
      <p:sp>
        <p:nvSpPr>
          <p:cNvPr id="33" name="Freeform: Shape 32">
            <a:extLst>
              <a:ext uri="{FF2B5EF4-FFF2-40B4-BE49-F238E27FC236}">
                <a16:creationId xmlns:a16="http://schemas.microsoft.com/office/drawing/2014/main" id="{4C2E191C-6044-E537-2FAB-625FBF394E54}"/>
              </a:ext>
            </a:extLst>
          </p:cNvPr>
          <p:cNvSpPr/>
          <p:nvPr/>
        </p:nvSpPr>
        <p:spPr>
          <a:xfrm>
            <a:off x="464909"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Dry-stack tailings management</a:t>
            </a:r>
            <a:endParaRPr lang="en-GB" sz="1600" kern="1200"/>
          </a:p>
        </p:txBody>
      </p:sp>
    </p:spTree>
    <p:extLst>
      <p:ext uri="{BB962C8B-B14F-4D97-AF65-F5344CB8AC3E}">
        <p14:creationId xmlns:p14="http://schemas.microsoft.com/office/powerpoint/2010/main" val="3616988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C5F93-DAD1-68B1-6940-F2367050CC28}"/>
            </a:ext>
          </a:extLst>
        </p:cNvPr>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4AC9B7FB-D18F-4C95-44DB-4F2D3D1CFED7}"/>
              </a:ext>
            </a:extLst>
          </p:cNvPr>
          <p:cNvGraphicFramePr/>
          <p:nvPr>
            <p:extLst>
              <p:ext uri="{D42A27DB-BD31-4B8C-83A1-F6EECF244321}">
                <p14:modId xmlns:p14="http://schemas.microsoft.com/office/powerpoint/2010/main" val="3290398712"/>
              </p:ext>
            </p:extLst>
          </p:nvPr>
        </p:nvGraphicFramePr>
        <p:xfrm>
          <a:off x="360000" y="1080000"/>
          <a:ext cx="7533934" cy="4393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1CC96E68-D4FF-2269-F44E-3A7440DAFDD0}"/>
              </a:ext>
            </a:extLst>
          </p:cNvPr>
          <p:cNvSpPr>
            <a:spLocks noGrp="1"/>
          </p:cNvSpPr>
          <p:nvPr>
            <p:ph type="sldNum" sz="quarter" idx="4"/>
          </p:nvPr>
        </p:nvSpPr>
        <p:spPr/>
        <p:txBody>
          <a:bodyPr/>
          <a:lstStyle/>
          <a:p>
            <a:pPr>
              <a:defRPr/>
            </a:pPr>
            <a:fld id="{D65ACB9B-F2BC-4FE9-9640-F5E580D0F44C}" type="slidenum">
              <a:rPr lang="en-US" altLang="en-US" smtClean="0"/>
              <a:pPr>
                <a:defRPr/>
              </a:pPr>
              <a:t>11</a:t>
            </a:fld>
            <a:endParaRPr lang="en-US" altLang="en-US"/>
          </a:p>
        </p:txBody>
      </p:sp>
      <p:pic>
        <p:nvPicPr>
          <p:cNvPr id="2" name="Picture 1">
            <a:extLst>
              <a:ext uri="{FF2B5EF4-FFF2-40B4-BE49-F238E27FC236}">
                <a16:creationId xmlns:a16="http://schemas.microsoft.com/office/drawing/2014/main" id="{A6C43BFF-7C93-EA4E-E9E3-35439DC911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pic>
        <p:nvPicPr>
          <p:cNvPr id="5" name="Picture 4" descr="A book on a tree branch&#10;&#10;Description automatically generated">
            <a:extLst>
              <a:ext uri="{FF2B5EF4-FFF2-40B4-BE49-F238E27FC236}">
                <a16:creationId xmlns:a16="http://schemas.microsoft.com/office/drawing/2014/main" id="{4CBA3645-8179-7675-065B-D67CBA581898}"/>
              </a:ext>
            </a:extLst>
          </p:cNvPr>
          <p:cNvPicPr>
            <a:picLocks noChangeAspect="1"/>
          </p:cNvPicPr>
          <p:nvPr/>
        </p:nvPicPr>
        <p:blipFill>
          <a:blip r:embed="rId9"/>
          <a:srcRect l="51531" t="26463" r="-1"/>
          <a:stretch/>
        </p:blipFill>
        <p:spPr>
          <a:xfrm>
            <a:off x="6710700" y="1235399"/>
            <a:ext cx="4538467" cy="4589282"/>
          </a:xfrm>
          <a:prstGeom prst="rect">
            <a:avLst/>
          </a:prstGeom>
          <a:ln>
            <a:noFill/>
          </a:ln>
          <a:effectLst>
            <a:softEdge rad="112500"/>
          </a:effectLst>
        </p:spPr>
      </p:pic>
      <p:sp>
        <p:nvSpPr>
          <p:cNvPr id="9" name="Title 2">
            <a:extLst>
              <a:ext uri="{FF2B5EF4-FFF2-40B4-BE49-F238E27FC236}">
                <a16:creationId xmlns:a16="http://schemas.microsoft.com/office/drawing/2014/main" id="{77940537-ECD0-2234-B224-4D345B4E1855}"/>
              </a:ext>
            </a:extLst>
          </p:cNvPr>
          <p:cNvSpPr>
            <a:spLocks noGrp="1"/>
          </p:cNvSpPr>
          <p:nvPr>
            <p:ph type="title"/>
          </p:nvPr>
        </p:nvSpPr>
        <p:spPr>
          <a:xfrm>
            <a:off x="340996" y="365474"/>
            <a:ext cx="7552938" cy="492443"/>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GB" sz="2400">
                <a:latin typeface="Calibri Light"/>
                <a:cs typeface="Calibri Light"/>
              </a:rPr>
              <a:t>Innovative Environmental Practices &amp; Biodiversity Protection</a:t>
            </a:r>
            <a:endParaRPr lang="en-US" sz="2400">
              <a:latin typeface="Calibri Light"/>
              <a:cs typeface="Calibri Light"/>
            </a:endParaRPr>
          </a:p>
        </p:txBody>
      </p:sp>
    </p:spTree>
    <p:extLst>
      <p:ext uri="{BB962C8B-B14F-4D97-AF65-F5344CB8AC3E}">
        <p14:creationId xmlns:p14="http://schemas.microsoft.com/office/powerpoint/2010/main" val="251721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1E2999-C12D-41C1-99DA-B2027C42CA43}"/>
              </a:ext>
            </a:extLst>
          </p:cNvPr>
          <p:cNvSpPr>
            <a:spLocks noGrp="1"/>
          </p:cNvSpPr>
          <p:nvPr>
            <p:ph type="body" sz="quarter" idx="13"/>
          </p:nvPr>
        </p:nvSpPr>
        <p:spPr>
          <a:xfrm>
            <a:off x="4215536" y="2207046"/>
            <a:ext cx="4679589" cy="869529"/>
          </a:xfrm>
        </p:spPr>
        <p:txBody>
          <a:bodyPr lIns="0" tIns="45720" rIns="0" bIns="45720" anchor="t"/>
          <a:lstStyle/>
          <a:p>
            <a:r>
              <a:rPr lang="en-US">
                <a:latin typeface="Calibri"/>
                <a:cs typeface="Calibri"/>
              </a:rPr>
              <a:t>Mathieu </a:t>
            </a:r>
            <a:r>
              <a:rPr lang="en-US" err="1">
                <a:latin typeface="Calibri"/>
                <a:cs typeface="Calibri"/>
              </a:rPr>
              <a:t>Vallart</a:t>
            </a:r>
            <a:r>
              <a:rPr lang="en-US">
                <a:latin typeface="Calibri"/>
                <a:cs typeface="Calibri"/>
              </a:rPr>
              <a:t> </a:t>
            </a:r>
          </a:p>
          <a:p>
            <a:r>
              <a:rPr lang="en-US">
                <a:latin typeface="Calibri"/>
                <a:cs typeface="Calibri"/>
              </a:rPr>
              <a:t>Sustainability</a:t>
            </a:r>
            <a:r>
              <a:rPr lang="el-GR">
                <a:latin typeface="Calibri"/>
                <a:cs typeface="Calibri"/>
              </a:rPr>
              <a:t> </a:t>
            </a:r>
            <a:r>
              <a:rPr lang="en-US">
                <a:latin typeface="Calibri"/>
                <a:cs typeface="Calibri"/>
              </a:rPr>
              <a:t>Director, Greece</a:t>
            </a:r>
            <a:endParaRPr lang="en-GB">
              <a:latin typeface="Calibri"/>
              <a:cs typeface="Calibri"/>
            </a:endParaRPr>
          </a:p>
          <a:p>
            <a:endParaRPr lang="en-US"/>
          </a:p>
        </p:txBody>
      </p:sp>
      <p:sp>
        <p:nvSpPr>
          <p:cNvPr id="3" name="Title 2">
            <a:extLst>
              <a:ext uri="{FF2B5EF4-FFF2-40B4-BE49-F238E27FC236}">
                <a16:creationId xmlns:a16="http://schemas.microsoft.com/office/drawing/2014/main" id="{CCB34999-DCB8-9C1A-8A99-85BFD910EEA9}"/>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0E7568F2-476F-EDFE-5BDA-CD3320172E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8507" y="4082268"/>
            <a:ext cx="4128712" cy="345325"/>
          </a:xfrm>
          <a:prstGeom prst="rect">
            <a:avLst/>
          </a:prstGeom>
        </p:spPr>
      </p:pic>
    </p:spTree>
    <p:extLst>
      <p:ext uri="{BB962C8B-B14F-4D97-AF65-F5344CB8AC3E}">
        <p14:creationId xmlns:p14="http://schemas.microsoft.com/office/powerpoint/2010/main" val="192213320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85B9F7F-ABDA-A940-4798-70A6D793FCD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8B28561-7B41-A906-5913-A629ADF3B509}"/>
              </a:ext>
            </a:extLst>
          </p:cNvPr>
          <p:cNvSpPr>
            <a:spLocks noGrp="1"/>
          </p:cNvSpPr>
          <p:nvPr>
            <p:ph type="title"/>
          </p:nvPr>
        </p:nvSpPr>
        <p:spPr>
          <a:xfrm>
            <a:off x="340996" y="365474"/>
            <a:ext cx="7552938" cy="492443"/>
          </a:xfrm>
        </p:spPr>
        <p:txBody>
          <a:bodyPr/>
          <a:lstStyle/>
          <a:p>
            <a:r>
              <a:rPr lang="en-US"/>
              <a:t>About Hellas Gold</a:t>
            </a:r>
          </a:p>
        </p:txBody>
      </p:sp>
      <p:sp>
        <p:nvSpPr>
          <p:cNvPr id="4" name="Slide Number Placeholder 3">
            <a:extLst>
              <a:ext uri="{FF2B5EF4-FFF2-40B4-BE49-F238E27FC236}">
                <a16:creationId xmlns:a16="http://schemas.microsoft.com/office/drawing/2014/main" id="{D645BA38-6617-0C30-9185-5D0079667D57}"/>
              </a:ext>
            </a:extLst>
          </p:cNvPr>
          <p:cNvSpPr>
            <a:spLocks noGrp="1"/>
          </p:cNvSpPr>
          <p:nvPr>
            <p:ph type="sldNum" sz="quarter" idx="4"/>
          </p:nvPr>
        </p:nvSpPr>
        <p:spPr/>
        <p:txBody>
          <a:bodyPr/>
          <a:lstStyle/>
          <a:p>
            <a:pPr>
              <a:defRPr/>
            </a:pPr>
            <a:fld id="{D65ACB9B-F2BC-4FE9-9640-F5E580D0F44C}" type="slidenum">
              <a:rPr lang="en-US" altLang="en-US" smtClean="0"/>
              <a:pPr>
                <a:defRPr/>
              </a:pPr>
              <a:t>13</a:t>
            </a:fld>
            <a:endParaRPr lang="en-US" altLang="en-US"/>
          </a:p>
        </p:txBody>
      </p:sp>
      <p:pic>
        <p:nvPicPr>
          <p:cNvPr id="13" name="Picture 12">
            <a:extLst>
              <a:ext uri="{FF2B5EF4-FFF2-40B4-BE49-F238E27FC236}">
                <a16:creationId xmlns:a16="http://schemas.microsoft.com/office/drawing/2014/main" id="{9C2EE5B2-5E08-ABB3-BB9B-50F12F5D8C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pic>
        <p:nvPicPr>
          <p:cNvPr id="6" name="Picture 5">
            <a:extLst>
              <a:ext uri="{FF2B5EF4-FFF2-40B4-BE49-F238E27FC236}">
                <a16:creationId xmlns:a16="http://schemas.microsoft.com/office/drawing/2014/main" id="{0C83C4A1-D8F4-BBF0-6D59-7FC0FCD33078}"/>
              </a:ext>
            </a:extLst>
          </p:cNvPr>
          <p:cNvPicPr>
            <a:picLocks/>
          </p:cNvPicPr>
          <p:nvPr/>
        </p:nvPicPr>
        <p:blipFill>
          <a:blip r:embed="rId3"/>
          <a:stretch>
            <a:fillRect/>
          </a:stretch>
        </p:blipFill>
        <p:spPr>
          <a:xfrm>
            <a:off x="5177224" y="2528718"/>
            <a:ext cx="437800" cy="24554"/>
          </a:xfrm>
          <a:prstGeom prst="rect">
            <a:avLst/>
          </a:prstGeom>
        </p:spPr>
      </p:pic>
      <p:pic>
        <p:nvPicPr>
          <p:cNvPr id="7" name="Picture 6">
            <a:extLst>
              <a:ext uri="{FF2B5EF4-FFF2-40B4-BE49-F238E27FC236}">
                <a16:creationId xmlns:a16="http://schemas.microsoft.com/office/drawing/2014/main" id="{ECC43A9A-F767-1BD4-62E9-B809C6A917E8}"/>
              </a:ext>
            </a:extLst>
          </p:cNvPr>
          <p:cNvPicPr>
            <a:picLocks noChangeAspect="1"/>
          </p:cNvPicPr>
          <p:nvPr/>
        </p:nvPicPr>
        <p:blipFill>
          <a:blip r:embed="rId4"/>
          <a:stretch>
            <a:fillRect/>
          </a:stretch>
        </p:blipFill>
        <p:spPr>
          <a:xfrm>
            <a:off x="4730983" y="3462992"/>
            <a:ext cx="347995" cy="112608"/>
          </a:xfrm>
          <a:prstGeom prst="rect">
            <a:avLst/>
          </a:prstGeom>
        </p:spPr>
      </p:pic>
      <p:pic>
        <p:nvPicPr>
          <p:cNvPr id="72" name="Picture 71" descr="PAGE_02_a.jpg">
            <a:extLst>
              <a:ext uri="{FF2B5EF4-FFF2-40B4-BE49-F238E27FC236}">
                <a16:creationId xmlns:a16="http://schemas.microsoft.com/office/drawing/2014/main" id="{27021394-A60C-E8B7-0B7B-DB0ACC6261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849" r="34862"/>
          <a:stretch/>
        </p:blipFill>
        <p:spPr>
          <a:xfrm>
            <a:off x="399632" y="1788746"/>
            <a:ext cx="6475703" cy="3506762"/>
          </a:xfrm>
          <a:prstGeom prst="rect">
            <a:avLst/>
          </a:prstGeom>
          <a:effectLst>
            <a:outerShdw blurRad="63500" sx="102000" sy="102000" algn="ctr" rotWithShape="0">
              <a:prstClr val="black">
                <a:alpha val="40000"/>
              </a:prstClr>
            </a:outerShdw>
          </a:effectLst>
        </p:spPr>
      </p:pic>
      <p:sp>
        <p:nvSpPr>
          <p:cNvPr id="73" name="Rectangle 72">
            <a:extLst>
              <a:ext uri="{FF2B5EF4-FFF2-40B4-BE49-F238E27FC236}">
                <a16:creationId xmlns:a16="http://schemas.microsoft.com/office/drawing/2014/main" id="{6A3F753B-4637-2970-A80E-1262650D9D58}"/>
              </a:ext>
            </a:extLst>
          </p:cNvPr>
          <p:cNvSpPr/>
          <p:nvPr/>
        </p:nvSpPr>
        <p:spPr>
          <a:xfrm>
            <a:off x="3562102" y="4195562"/>
            <a:ext cx="1759888" cy="254400"/>
          </a:xfrm>
          <a:prstGeom prst="rect">
            <a:avLst/>
          </a:prstGeom>
        </p:spPr>
        <p:txBody>
          <a:bodyPr wrap="square">
            <a:spAutoFit/>
          </a:bodyPr>
          <a:lstStyle/>
          <a:p>
            <a:pPr>
              <a:lnSpc>
                <a:spcPct val="90000"/>
              </a:lnSpc>
            </a:pPr>
            <a:endParaRPr lang="el-GR" sz="1050">
              <a:solidFill>
                <a:schemeClr val="bg1">
                  <a:lumMod val="50000"/>
                </a:schemeClr>
              </a:solidFill>
              <a:latin typeface="Arial"/>
              <a:cs typeface="Arial"/>
            </a:endParaRPr>
          </a:p>
        </p:txBody>
      </p:sp>
      <p:sp>
        <p:nvSpPr>
          <p:cNvPr id="74" name="TextBox 73">
            <a:extLst>
              <a:ext uri="{FF2B5EF4-FFF2-40B4-BE49-F238E27FC236}">
                <a16:creationId xmlns:a16="http://schemas.microsoft.com/office/drawing/2014/main" id="{321D99D0-107F-3A73-6997-F7D4D7AB0C39}"/>
              </a:ext>
            </a:extLst>
          </p:cNvPr>
          <p:cNvSpPr txBox="1"/>
          <p:nvPr/>
        </p:nvSpPr>
        <p:spPr>
          <a:xfrm>
            <a:off x="2231303" y="1892191"/>
            <a:ext cx="1277835" cy="472232"/>
          </a:xfrm>
          <a:prstGeom prst="rect">
            <a:avLst/>
          </a:prstGeom>
          <a:noFill/>
        </p:spPr>
        <p:txBody>
          <a:bodyPr wrap="none" rtlCol="0">
            <a:spAutoFit/>
          </a:bodyPr>
          <a:lstStyle/>
          <a:p>
            <a:pPr algn="r">
              <a:lnSpc>
                <a:spcPct val="80000"/>
              </a:lnSpc>
            </a:pPr>
            <a:r>
              <a:rPr lang="en-US" sz="1400" b="1"/>
              <a:t>Olympias</a:t>
            </a:r>
            <a:br>
              <a:rPr lang="en-US" sz="1400" b="1"/>
            </a:br>
            <a:r>
              <a:rPr lang="en-US" sz="1400"/>
              <a:t>mine facilities</a:t>
            </a:r>
            <a:endParaRPr lang="en-US" sz="1400">
              <a:solidFill>
                <a:srgbClr val="3D5D3A"/>
              </a:solidFill>
            </a:endParaRPr>
          </a:p>
        </p:txBody>
      </p:sp>
      <p:sp>
        <p:nvSpPr>
          <p:cNvPr id="75" name="TextBox 74">
            <a:extLst>
              <a:ext uri="{FF2B5EF4-FFF2-40B4-BE49-F238E27FC236}">
                <a16:creationId xmlns:a16="http://schemas.microsoft.com/office/drawing/2014/main" id="{DCCFF346-3BBF-9B4F-FCF4-C90B4CDD7BA1}"/>
              </a:ext>
            </a:extLst>
          </p:cNvPr>
          <p:cNvSpPr txBox="1"/>
          <p:nvPr/>
        </p:nvSpPr>
        <p:spPr>
          <a:xfrm>
            <a:off x="3806397" y="2227795"/>
            <a:ext cx="1776275" cy="656653"/>
          </a:xfrm>
          <a:prstGeom prst="rect">
            <a:avLst/>
          </a:prstGeom>
          <a:noFill/>
        </p:spPr>
        <p:txBody>
          <a:bodyPr wrap="none" lIns="91440" tIns="45720" rIns="91440" bIns="45720" rtlCol="0" anchor="t">
            <a:spAutoFit/>
          </a:bodyPr>
          <a:lstStyle/>
          <a:p>
            <a:pPr>
              <a:lnSpc>
                <a:spcPct val="80000"/>
              </a:lnSpc>
            </a:pPr>
            <a:r>
              <a:rPr lang="en-US" sz="1400"/>
              <a:t>Port &amp; Warehousing</a:t>
            </a:r>
          </a:p>
          <a:p>
            <a:pPr>
              <a:lnSpc>
                <a:spcPct val="80000"/>
              </a:lnSpc>
            </a:pPr>
            <a:r>
              <a:rPr lang="en-US" sz="1400"/>
              <a:t>Facilities at</a:t>
            </a:r>
          </a:p>
          <a:p>
            <a:pPr>
              <a:lnSpc>
                <a:spcPct val="80000"/>
              </a:lnSpc>
            </a:pPr>
            <a:r>
              <a:rPr lang="en-US" sz="1400" b="1" err="1"/>
              <a:t>Stratoni</a:t>
            </a:r>
            <a:endParaRPr lang="en-US" sz="1200" b="1">
              <a:solidFill>
                <a:srgbClr val="3D5D3A"/>
              </a:solidFill>
            </a:endParaRPr>
          </a:p>
        </p:txBody>
      </p:sp>
      <p:sp>
        <p:nvSpPr>
          <p:cNvPr id="76" name="TextBox 75">
            <a:extLst>
              <a:ext uri="{FF2B5EF4-FFF2-40B4-BE49-F238E27FC236}">
                <a16:creationId xmlns:a16="http://schemas.microsoft.com/office/drawing/2014/main" id="{3D1CE2B1-30E3-456B-1827-93C51D396D8E}"/>
              </a:ext>
            </a:extLst>
          </p:cNvPr>
          <p:cNvSpPr txBox="1"/>
          <p:nvPr/>
        </p:nvSpPr>
        <p:spPr>
          <a:xfrm>
            <a:off x="2797439" y="2549117"/>
            <a:ext cx="902032" cy="472232"/>
          </a:xfrm>
          <a:prstGeom prst="rect">
            <a:avLst/>
          </a:prstGeom>
          <a:noFill/>
        </p:spPr>
        <p:txBody>
          <a:bodyPr wrap="square" rtlCol="0">
            <a:spAutoFit/>
          </a:bodyPr>
          <a:lstStyle/>
          <a:p>
            <a:pPr algn="r">
              <a:lnSpc>
                <a:spcPct val="80000"/>
              </a:lnSpc>
            </a:pPr>
            <a:r>
              <a:rPr lang="en-US" sz="1400" b="1" err="1"/>
              <a:t>Skouries</a:t>
            </a:r>
            <a:br>
              <a:rPr lang="en-US" sz="1400" b="1"/>
            </a:br>
            <a:r>
              <a:rPr lang="en-US" sz="1400"/>
              <a:t>Project</a:t>
            </a:r>
            <a:endParaRPr lang="el-GR" sz="1400"/>
          </a:p>
        </p:txBody>
      </p:sp>
      <p:pic>
        <p:nvPicPr>
          <p:cNvPr id="71" name="Picture 70">
            <a:extLst>
              <a:ext uri="{FF2B5EF4-FFF2-40B4-BE49-F238E27FC236}">
                <a16:creationId xmlns:a16="http://schemas.microsoft.com/office/drawing/2014/main" id="{57EB886E-3894-1C2F-3F40-841997AF0DC2}"/>
              </a:ext>
            </a:extLst>
          </p:cNvPr>
          <p:cNvPicPr>
            <a:picLocks noChangeAspect="1"/>
          </p:cNvPicPr>
          <p:nvPr/>
        </p:nvPicPr>
        <p:blipFill>
          <a:blip r:embed="rId6">
            <a:duotone>
              <a:schemeClr val="accent1">
                <a:shade val="45000"/>
                <a:satMod val="135000"/>
              </a:schemeClr>
              <a:prstClr val="white"/>
            </a:duotone>
          </a:blip>
          <a:stretch>
            <a:fillRect/>
          </a:stretch>
        </p:blipFill>
        <p:spPr>
          <a:xfrm>
            <a:off x="3504535" y="1909254"/>
            <a:ext cx="164485" cy="250683"/>
          </a:xfrm>
          <a:prstGeom prst="rect">
            <a:avLst/>
          </a:prstGeom>
        </p:spPr>
      </p:pic>
      <p:pic>
        <p:nvPicPr>
          <p:cNvPr id="69" name="Picture 68">
            <a:extLst>
              <a:ext uri="{FF2B5EF4-FFF2-40B4-BE49-F238E27FC236}">
                <a16:creationId xmlns:a16="http://schemas.microsoft.com/office/drawing/2014/main" id="{3B714017-FE90-CB35-85AC-911C48E748E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5809" y="2034595"/>
            <a:ext cx="1357683" cy="3189862"/>
          </a:xfrm>
          <a:prstGeom prst="rect">
            <a:avLst/>
          </a:prstGeom>
          <a:solidFill>
            <a:srgbClr val="EEF2F6"/>
          </a:solidFill>
        </p:spPr>
      </p:pic>
      <p:pic>
        <p:nvPicPr>
          <p:cNvPr id="77" name="Picture 76">
            <a:extLst>
              <a:ext uri="{FF2B5EF4-FFF2-40B4-BE49-F238E27FC236}">
                <a16:creationId xmlns:a16="http://schemas.microsoft.com/office/drawing/2014/main" id="{A1D98D45-DE3A-8A59-8384-1FE269DBF435}"/>
              </a:ext>
            </a:extLst>
          </p:cNvPr>
          <p:cNvPicPr>
            <a:picLocks noChangeAspect="1"/>
          </p:cNvPicPr>
          <p:nvPr/>
        </p:nvPicPr>
        <p:blipFill>
          <a:blip r:embed="rId6">
            <a:duotone>
              <a:schemeClr val="accent1">
                <a:shade val="45000"/>
                <a:satMod val="135000"/>
              </a:schemeClr>
              <a:prstClr val="white"/>
            </a:duotone>
          </a:blip>
          <a:stretch>
            <a:fillRect/>
          </a:stretch>
        </p:blipFill>
        <p:spPr>
          <a:xfrm>
            <a:off x="3559849" y="2391609"/>
            <a:ext cx="153724" cy="234283"/>
          </a:xfrm>
          <a:prstGeom prst="rect">
            <a:avLst/>
          </a:prstGeom>
        </p:spPr>
      </p:pic>
      <p:pic>
        <p:nvPicPr>
          <p:cNvPr id="78" name="Picture 77">
            <a:extLst>
              <a:ext uri="{FF2B5EF4-FFF2-40B4-BE49-F238E27FC236}">
                <a16:creationId xmlns:a16="http://schemas.microsoft.com/office/drawing/2014/main" id="{AE853C01-AEF5-344C-6635-5216BA402031}"/>
              </a:ext>
            </a:extLst>
          </p:cNvPr>
          <p:cNvPicPr>
            <a:picLocks noChangeAspect="1"/>
          </p:cNvPicPr>
          <p:nvPr/>
        </p:nvPicPr>
        <p:blipFill>
          <a:blip r:embed="rId6">
            <a:duotone>
              <a:schemeClr val="accent1">
                <a:shade val="45000"/>
                <a:satMod val="135000"/>
              </a:schemeClr>
              <a:prstClr val="white"/>
            </a:duotone>
          </a:blip>
          <a:stretch>
            <a:fillRect/>
          </a:stretch>
        </p:blipFill>
        <p:spPr>
          <a:xfrm>
            <a:off x="3698699" y="2164071"/>
            <a:ext cx="153724" cy="234283"/>
          </a:xfrm>
          <a:prstGeom prst="rect">
            <a:avLst/>
          </a:prstGeom>
        </p:spPr>
      </p:pic>
      <p:sp>
        <p:nvSpPr>
          <p:cNvPr id="79" name="Rectangle 78">
            <a:extLst>
              <a:ext uri="{FF2B5EF4-FFF2-40B4-BE49-F238E27FC236}">
                <a16:creationId xmlns:a16="http://schemas.microsoft.com/office/drawing/2014/main" id="{D294E0CF-946C-3A08-9E9A-4BCD225526C0}"/>
              </a:ext>
            </a:extLst>
          </p:cNvPr>
          <p:cNvSpPr/>
          <p:nvPr/>
        </p:nvSpPr>
        <p:spPr>
          <a:xfrm>
            <a:off x="3410497" y="4153664"/>
            <a:ext cx="1567360" cy="867930"/>
          </a:xfrm>
          <a:prstGeom prst="rect">
            <a:avLst/>
          </a:prstGeom>
        </p:spPr>
        <p:txBody>
          <a:bodyPr wrap="square">
            <a:spAutoFit/>
          </a:bodyPr>
          <a:lstStyle/>
          <a:p>
            <a:pPr>
              <a:lnSpc>
                <a:spcPct val="90000"/>
              </a:lnSpc>
            </a:pPr>
            <a:r>
              <a:rPr lang="en-GB" sz="1400" b="1">
                <a:solidFill>
                  <a:srgbClr val="3D5D3A"/>
                </a:solidFill>
                <a:latin typeface="Arial"/>
                <a:cs typeface="Arial"/>
              </a:rPr>
              <a:t>OLYMPIAS</a:t>
            </a:r>
          </a:p>
          <a:p>
            <a:pPr>
              <a:lnSpc>
                <a:spcPct val="90000"/>
              </a:lnSpc>
            </a:pPr>
            <a:r>
              <a:rPr lang="en-US" sz="1050">
                <a:solidFill>
                  <a:srgbClr val="7F7F7F"/>
                </a:solidFill>
                <a:latin typeface="Arial"/>
                <a:cs typeface="Arial"/>
              </a:rPr>
              <a:t>MODERNIZED POLYMETALLIC UNDERGROUND MINE (in operation) </a:t>
            </a:r>
          </a:p>
        </p:txBody>
      </p:sp>
      <p:sp>
        <p:nvSpPr>
          <p:cNvPr id="80" name="Rectangle 79">
            <a:extLst>
              <a:ext uri="{FF2B5EF4-FFF2-40B4-BE49-F238E27FC236}">
                <a16:creationId xmlns:a16="http://schemas.microsoft.com/office/drawing/2014/main" id="{01469C6E-57AA-EB8D-DD50-BFD0871D5FA2}"/>
              </a:ext>
            </a:extLst>
          </p:cNvPr>
          <p:cNvSpPr/>
          <p:nvPr/>
        </p:nvSpPr>
        <p:spPr>
          <a:xfrm>
            <a:off x="1977665" y="4153664"/>
            <a:ext cx="1636126" cy="1061829"/>
          </a:xfrm>
          <a:prstGeom prst="rect">
            <a:avLst/>
          </a:prstGeom>
        </p:spPr>
        <p:txBody>
          <a:bodyPr wrap="square" lIns="91440" tIns="45720" rIns="91440" bIns="45720" anchor="t">
            <a:spAutoFit/>
          </a:bodyPr>
          <a:lstStyle/>
          <a:p>
            <a:pPr>
              <a:lnSpc>
                <a:spcPct val="90000"/>
              </a:lnSpc>
            </a:pPr>
            <a:r>
              <a:rPr lang="en-US" sz="1400" b="1">
                <a:solidFill>
                  <a:srgbClr val="9D584C"/>
                </a:solidFill>
                <a:latin typeface="Arial"/>
                <a:cs typeface="Arial"/>
              </a:rPr>
              <a:t>SKOURIES PROJECT</a:t>
            </a:r>
            <a:endParaRPr lang="el-GR" sz="1400" b="1">
              <a:solidFill>
                <a:srgbClr val="9D584C"/>
              </a:solidFill>
              <a:latin typeface="Arial"/>
              <a:cs typeface="Arial"/>
            </a:endParaRPr>
          </a:p>
          <a:p>
            <a:pPr>
              <a:lnSpc>
                <a:spcPct val="90000"/>
              </a:lnSpc>
            </a:pPr>
            <a:r>
              <a:rPr lang="en-US" sz="1050">
                <a:solidFill>
                  <a:schemeClr val="bg1">
                    <a:lumMod val="50000"/>
                  </a:schemeClr>
                </a:solidFill>
                <a:latin typeface="Arial"/>
                <a:cs typeface="Arial"/>
              </a:rPr>
              <a:t>PROJECT CONSTRUCTION PROGRESS</a:t>
            </a:r>
          </a:p>
          <a:p>
            <a:pPr>
              <a:lnSpc>
                <a:spcPct val="90000"/>
              </a:lnSpc>
            </a:pPr>
            <a:r>
              <a:rPr lang="en-US" sz="1050">
                <a:solidFill>
                  <a:schemeClr val="bg1">
                    <a:lumMod val="50000"/>
                  </a:schemeClr>
                </a:solidFill>
                <a:latin typeface="Arial"/>
                <a:cs typeface="Arial"/>
              </a:rPr>
              <a:t>79% </a:t>
            </a:r>
            <a:endParaRPr lang="el-GR" sz="1050">
              <a:solidFill>
                <a:schemeClr val="bg1">
                  <a:lumMod val="50000"/>
                </a:schemeClr>
              </a:solidFill>
              <a:latin typeface="Arial"/>
              <a:cs typeface="Arial"/>
            </a:endParaRPr>
          </a:p>
        </p:txBody>
      </p:sp>
      <p:sp>
        <p:nvSpPr>
          <p:cNvPr id="81" name="Rectangle 80">
            <a:extLst>
              <a:ext uri="{FF2B5EF4-FFF2-40B4-BE49-F238E27FC236}">
                <a16:creationId xmlns:a16="http://schemas.microsoft.com/office/drawing/2014/main" id="{ADB4B4D6-793E-169C-43CD-69FE416D5E1B}"/>
              </a:ext>
            </a:extLst>
          </p:cNvPr>
          <p:cNvSpPr/>
          <p:nvPr/>
        </p:nvSpPr>
        <p:spPr>
          <a:xfrm>
            <a:off x="4868635" y="4125959"/>
            <a:ext cx="1708200" cy="1047979"/>
          </a:xfrm>
          <a:prstGeom prst="rect">
            <a:avLst/>
          </a:prstGeom>
        </p:spPr>
        <p:txBody>
          <a:bodyPr wrap="square" lIns="91440" tIns="45720" rIns="91440" bIns="45720" anchor="t">
            <a:spAutoFit/>
          </a:bodyPr>
          <a:lstStyle/>
          <a:p>
            <a:pPr>
              <a:lnSpc>
                <a:spcPct val="90000"/>
              </a:lnSpc>
            </a:pPr>
            <a:r>
              <a:rPr lang="en-US" sz="1400" b="1">
                <a:solidFill>
                  <a:srgbClr val="027C64"/>
                </a:solidFill>
                <a:latin typeface="Arial"/>
                <a:cs typeface="Arial"/>
              </a:rPr>
              <a:t>MAVRES PETRES - STRATONI</a:t>
            </a:r>
            <a:endParaRPr lang="el-GR" sz="1400" b="1">
              <a:solidFill>
                <a:srgbClr val="027C64"/>
              </a:solidFill>
              <a:latin typeface="Arial"/>
              <a:cs typeface="Arial"/>
            </a:endParaRPr>
          </a:p>
          <a:p>
            <a:pPr>
              <a:lnSpc>
                <a:spcPct val="90000"/>
              </a:lnSpc>
            </a:pPr>
            <a:r>
              <a:rPr lang="en-US" sz="1050">
                <a:solidFill>
                  <a:srgbClr val="7F7F7F"/>
                </a:solidFill>
                <a:latin typeface="Arial"/>
                <a:cs typeface="Arial"/>
              </a:rPr>
              <a:t>MINE IN CARE &amp; MAINTENANCE</a:t>
            </a:r>
          </a:p>
          <a:p>
            <a:pPr>
              <a:lnSpc>
                <a:spcPct val="90000"/>
              </a:lnSpc>
            </a:pPr>
            <a:r>
              <a:rPr lang="en-US" sz="1000" i="1">
                <a:solidFill>
                  <a:schemeClr val="bg1">
                    <a:lumMod val="50000"/>
                  </a:schemeClr>
                </a:solidFill>
                <a:latin typeface="Arial"/>
                <a:cs typeface="Arial"/>
              </a:rPr>
              <a:t>Further exploration in progress</a:t>
            </a:r>
            <a:endParaRPr lang="el-GR" sz="1000" i="1">
              <a:solidFill>
                <a:schemeClr val="bg1">
                  <a:lumMod val="50000"/>
                </a:schemeClr>
              </a:solidFill>
              <a:latin typeface="Arial"/>
              <a:cs typeface="Arial"/>
            </a:endParaRPr>
          </a:p>
        </p:txBody>
      </p:sp>
      <p:sp>
        <p:nvSpPr>
          <p:cNvPr id="87" name="Rectangle 86">
            <a:extLst>
              <a:ext uri="{FF2B5EF4-FFF2-40B4-BE49-F238E27FC236}">
                <a16:creationId xmlns:a16="http://schemas.microsoft.com/office/drawing/2014/main" id="{84A82CCA-F1AD-AA8F-F936-33DBC7EC9817}"/>
              </a:ext>
            </a:extLst>
          </p:cNvPr>
          <p:cNvSpPr/>
          <p:nvPr/>
        </p:nvSpPr>
        <p:spPr>
          <a:xfrm>
            <a:off x="9387190" y="1116293"/>
            <a:ext cx="2368797" cy="226124"/>
          </a:xfrm>
          <a:prstGeom prst="rect">
            <a:avLst/>
          </a:prstGeom>
          <a:solidFill>
            <a:srgbClr val="1E9A7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r"/>
            <a:r>
              <a:rPr lang="en-US" sz="1600" b="1">
                <a:solidFill>
                  <a:schemeClr val="bg1"/>
                </a:solidFill>
              </a:rPr>
              <a:t>The Company</a:t>
            </a:r>
            <a:endParaRPr lang="en-US" sz="1600" b="1">
              <a:solidFill>
                <a:schemeClr val="bg1"/>
              </a:solidFill>
              <a:cs typeface="Arial"/>
            </a:endParaRPr>
          </a:p>
        </p:txBody>
      </p:sp>
      <p:sp>
        <p:nvSpPr>
          <p:cNvPr id="88" name="Rectangle 87">
            <a:extLst>
              <a:ext uri="{FF2B5EF4-FFF2-40B4-BE49-F238E27FC236}">
                <a16:creationId xmlns:a16="http://schemas.microsoft.com/office/drawing/2014/main" id="{6EA4379F-AF59-AB97-714B-23056211AF17}"/>
              </a:ext>
            </a:extLst>
          </p:cNvPr>
          <p:cNvSpPr/>
          <p:nvPr/>
        </p:nvSpPr>
        <p:spPr>
          <a:xfrm>
            <a:off x="7198468" y="1351561"/>
            <a:ext cx="4566391" cy="21905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0960" rIns="0" bIns="60960" rtlCol="0" anchor="ctr"/>
          <a:lstStyle/>
          <a:p>
            <a:pPr marL="171022" marR="406390" indent="-171022">
              <a:spcAft>
                <a:spcPts val="3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100% subsidiary of Eldorado Gold, </a:t>
            </a:r>
            <a:r>
              <a:rPr lang="en-US" sz="1200" err="1">
                <a:solidFill>
                  <a:schemeClr val="tx1"/>
                </a:solidFill>
                <a:cs typeface="Calibri Light" panose="020F0302020204030204" pitchFamily="34" charset="0"/>
              </a:rPr>
              <a:t>headquart</a:t>
            </a:r>
            <a:r>
              <a:rPr lang="en-US" sz="1200">
                <a:solidFill>
                  <a:schemeClr val="tx1"/>
                </a:solidFill>
                <a:cs typeface="Calibri Light" panose="020F0302020204030204" pitchFamily="34" charset="0"/>
              </a:rPr>
              <a:t> in Athens, Greece </a:t>
            </a:r>
            <a:br>
              <a:rPr lang="en-US" sz="1200">
                <a:solidFill>
                  <a:schemeClr val="tx1"/>
                </a:solidFill>
                <a:cs typeface="Calibri Light" panose="020F0302020204030204" pitchFamily="34" charset="0"/>
              </a:rPr>
            </a:br>
            <a:r>
              <a:rPr lang="en-US" sz="1200">
                <a:solidFill>
                  <a:schemeClr val="tx1"/>
                </a:solidFill>
                <a:cs typeface="Calibri Light" panose="020F0302020204030204" pitchFamily="34" charset="0"/>
              </a:rPr>
              <a:t>Operating in the Northeast </a:t>
            </a:r>
            <a:r>
              <a:rPr lang="en-US" sz="1200" err="1">
                <a:solidFill>
                  <a:schemeClr val="tx1"/>
                </a:solidFill>
                <a:cs typeface="Calibri Light" panose="020F0302020204030204" pitchFamily="34" charset="0"/>
              </a:rPr>
              <a:t>Halkidiki</a:t>
            </a:r>
            <a:r>
              <a:rPr lang="en-US" sz="1200">
                <a:solidFill>
                  <a:schemeClr val="tx1"/>
                </a:solidFill>
                <a:cs typeface="Calibri Light" panose="020F0302020204030204" pitchFamily="34" charset="0"/>
              </a:rPr>
              <a:t> region since 2004</a:t>
            </a:r>
          </a:p>
          <a:p>
            <a:pPr marL="171022" marR="406390" indent="-171022">
              <a:spcAft>
                <a:spcPts val="3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W</a:t>
            </a:r>
            <a:r>
              <a:rPr lang="en-GB" sz="1200">
                <a:solidFill>
                  <a:schemeClr val="tx1"/>
                </a:solidFill>
                <a:cs typeface="Calibri Light" panose="020F0302020204030204" pitchFamily="34" charset="0"/>
              </a:rPr>
              <a:t>e produce: gold, silver, lead and zinc (copper </a:t>
            </a:r>
            <a:r>
              <a:rPr lang="en-US" sz="1200">
                <a:solidFill>
                  <a:schemeClr val="tx1"/>
                </a:solidFill>
                <a:cs typeface="Calibri Light" panose="020F0302020204030204" pitchFamily="34" charset="0"/>
              </a:rPr>
              <a:t>in the near future </a:t>
            </a:r>
            <a:r>
              <a:rPr lang="en-GB" sz="1200">
                <a:solidFill>
                  <a:schemeClr val="tx1"/>
                </a:solidFill>
                <a:cs typeface="Calibri Light" panose="020F0302020204030204" pitchFamily="34" charset="0"/>
              </a:rPr>
              <a:t>when Skouries enters commercial production)</a:t>
            </a:r>
          </a:p>
          <a:p>
            <a:pPr marL="171022" marR="406390" indent="-171022">
              <a:spcAft>
                <a:spcPts val="3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Established operator with 20 years of history that has reclaimed a social license to operate, and has a meticulously planned transformation agenda and a strategy to be the growth engine for Eldorado</a:t>
            </a:r>
          </a:p>
        </p:txBody>
      </p:sp>
      <p:sp>
        <p:nvSpPr>
          <p:cNvPr id="89" name="Rectangle 88">
            <a:extLst>
              <a:ext uri="{FF2B5EF4-FFF2-40B4-BE49-F238E27FC236}">
                <a16:creationId xmlns:a16="http://schemas.microsoft.com/office/drawing/2014/main" id="{6CCAFF8C-7BB4-C7B3-EC1E-35B212ABB480}"/>
              </a:ext>
            </a:extLst>
          </p:cNvPr>
          <p:cNvSpPr/>
          <p:nvPr/>
        </p:nvSpPr>
        <p:spPr>
          <a:xfrm>
            <a:off x="9133242" y="3735418"/>
            <a:ext cx="2637227" cy="320215"/>
          </a:xfrm>
          <a:prstGeom prst="rect">
            <a:avLst/>
          </a:prstGeom>
          <a:solidFill>
            <a:srgbClr val="1E9A7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r"/>
            <a:r>
              <a:rPr lang="en-US" sz="1600" b="1">
                <a:solidFill>
                  <a:schemeClr val="bg1"/>
                </a:solidFill>
              </a:rPr>
              <a:t>Sustainability Performance</a:t>
            </a:r>
          </a:p>
        </p:txBody>
      </p:sp>
      <p:sp>
        <p:nvSpPr>
          <p:cNvPr id="90" name="Rectangle 89">
            <a:extLst>
              <a:ext uri="{FF2B5EF4-FFF2-40B4-BE49-F238E27FC236}">
                <a16:creationId xmlns:a16="http://schemas.microsoft.com/office/drawing/2014/main" id="{3E8AE6A5-046D-EF50-88D4-0470A738726C}"/>
              </a:ext>
            </a:extLst>
          </p:cNvPr>
          <p:cNvSpPr/>
          <p:nvPr/>
        </p:nvSpPr>
        <p:spPr>
          <a:xfrm>
            <a:off x="7188739" y="4060297"/>
            <a:ext cx="4603629" cy="15622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46" marR="407024" indent="-171446">
              <a:spcAft>
                <a:spcPts val="6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Successful history in rehabilitation (“principle of parallel rehabilitation”)</a:t>
            </a:r>
          </a:p>
          <a:p>
            <a:pPr marL="171446" marR="407024" indent="-171446">
              <a:spcAft>
                <a:spcPts val="6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500 environmental checkpoints under the company’s comprehensive Environmental Monitoring System</a:t>
            </a:r>
          </a:p>
          <a:p>
            <a:pPr marL="171446" marR="407024" indent="-171446">
              <a:spcAft>
                <a:spcPts val="600"/>
              </a:spcAft>
              <a:buClr>
                <a:srgbClr val="58595B"/>
              </a:buClr>
              <a:buSzPts val="900"/>
              <a:buFont typeface="Arial" panose="020B0604020202020204" pitchFamily="34" charset="0"/>
              <a:buChar char="•"/>
              <a:tabLst>
                <a:tab pos="267964" algn="l"/>
              </a:tabLst>
            </a:pPr>
            <a:r>
              <a:rPr lang="en-US" sz="1200">
                <a:solidFill>
                  <a:schemeClr val="tx1"/>
                </a:solidFill>
                <a:cs typeface="Calibri Light" panose="020F0302020204030204" pitchFamily="34" charset="0"/>
              </a:rPr>
              <a:t>State-of-the-art tailings management facility (</a:t>
            </a:r>
            <a:r>
              <a:rPr lang="en-US" sz="1200" err="1">
                <a:solidFill>
                  <a:schemeClr val="tx1"/>
                </a:solidFill>
                <a:cs typeface="Calibri Light" panose="020F0302020204030204" pitchFamily="34" charset="0"/>
              </a:rPr>
              <a:t>Kokkinolakkas</a:t>
            </a:r>
            <a:r>
              <a:rPr lang="en-US" sz="1200">
                <a:solidFill>
                  <a:schemeClr val="tx1"/>
                </a:solidFill>
                <a:cs typeface="Calibri Light" panose="020F0302020204030204" pitchFamily="34" charset="0"/>
              </a:rPr>
              <a:t>) employing dry stacking, the most sustainable tailings deposition method available</a:t>
            </a:r>
          </a:p>
        </p:txBody>
      </p:sp>
      <p:sp>
        <p:nvSpPr>
          <p:cNvPr id="2" name="TextBox 1">
            <a:extLst>
              <a:ext uri="{FF2B5EF4-FFF2-40B4-BE49-F238E27FC236}">
                <a16:creationId xmlns:a16="http://schemas.microsoft.com/office/drawing/2014/main" id="{0D951B95-7DBB-4A35-B763-830F4FB58994}"/>
              </a:ext>
            </a:extLst>
          </p:cNvPr>
          <p:cNvSpPr txBox="1"/>
          <p:nvPr/>
        </p:nvSpPr>
        <p:spPr>
          <a:xfrm>
            <a:off x="1606550" y="76835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871995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703E34-2E70-D0E2-6E04-D8CE003A9934}"/>
              </a:ext>
            </a:extLst>
          </p:cNvPr>
          <p:cNvSpPr>
            <a:spLocks noGrp="1"/>
          </p:cNvSpPr>
          <p:nvPr>
            <p:ph type="title"/>
          </p:nvPr>
        </p:nvSpPr>
        <p:spPr>
          <a:xfrm>
            <a:off x="517899" y="161816"/>
            <a:ext cx="8535719" cy="725557"/>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US" sz="2400">
                <a:latin typeface="Calibri Light"/>
                <a:cs typeface="Calibri Light"/>
              </a:rPr>
              <a:t>CREATING VALUE FOR THE LOCAL COMMUNITIES </a:t>
            </a:r>
          </a:p>
        </p:txBody>
      </p:sp>
      <p:sp>
        <p:nvSpPr>
          <p:cNvPr id="5" name="Slide Number Placeholder 4">
            <a:extLst>
              <a:ext uri="{FF2B5EF4-FFF2-40B4-BE49-F238E27FC236}">
                <a16:creationId xmlns:a16="http://schemas.microsoft.com/office/drawing/2014/main" id="{DDFE6179-429C-ECAD-FDA5-42926051E0C9}"/>
              </a:ext>
            </a:extLst>
          </p:cNvPr>
          <p:cNvSpPr>
            <a:spLocks noGrp="1"/>
          </p:cNvSpPr>
          <p:nvPr>
            <p:ph type="sldNum" sz="quarter" idx="10"/>
          </p:nvPr>
        </p:nvSpPr>
        <p:spPr>
          <a:xfrm>
            <a:off x="11369677" y="6435725"/>
            <a:ext cx="569913" cy="293688"/>
          </a:xfrm>
        </p:spPr>
        <p:txBody>
          <a:bodyPr>
            <a:normAutofit/>
          </a:bodyPr>
          <a:lstStyle/>
          <a:p>
            <a:pPr>
              <a:spcAft>
                <a:spcPts val="600"/>
              </a:spcAft>
              <a:defRPr/>
            </a:pPr>
            <a:fld id="{D65ACB9B-F2BC-4FE9-9640-F5E580D0F44C}" type="slidenum">
              <a:rPr lang="en-US" altLang="en-US"/>
              <a:pPr>
                <a:spcAft>
                  <a:spcPts val="600"/>
                </a:spcAft>
                <a:defRPr/>
              </a:pPr>
              <a:t>14</a:t>
            </a:fld>
            <a:endParaRPr lang="en-US" altLang="en-US"/>
          </a:p>
        </p:txBody>
      </p:sp>
      <p:sp>
        <p:nvSpPr>
          <p:cNvPr id="2" name="TextBox 1">
            <a:extLst>
              <a:ext uri="{FF2B5EF4-FFF2-40B4-BE49-F238E27FC236}">
                <a16:creationId xmlns:a16="http://schemas.microsoft.com/office/drawing/2014/main" id="{55CA005D-20A3-A294-FF9F-8770DDE8A8F3}"/>
              </a:ext>
            </a:extLst>
          </p:cNvPr>
          <p:cNvSpPr txBox="1"/>
          <p:nvPr/>
        </p:nvSpPr>
        <p:spPr>
          <a:xfrm>
            <a:off x="517899" y="1206376"/>
            <a:ext cx="1084784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ea typeface="+mn-lt"/>
                <a:cs typeface="+mn-lt"/>
              </a:rPr>
              <a:t>By prioritizing CSR actions that benefit </a:t>
            </a:r>
            <a:r>
              <a:rPr lang="en-US" sz="2000" b="1">
                <a:ea typeface="+mn-lt"/>
                <a:cs typeface="+mn-lt"/>
              </a:rPr>
              <a:t>local communities, Hellas Gold demonstrates its commitment to sustainable development</a:t>
            </a:r>
            <a:r>
              <a:rPr lang="en-US" sz="2000">
                <a:ea typeface="+mn-lt"/>
                <a:cs typeface="+mn-lt"/>
              </a:rPr>
              <a:t>, fostering positive relationships, improving the quality of life for residents, and ensuring long-term mutual prosperity </a:t>
            </a:r>
            <a:r>
              <a:rPr lang="en-US" sz="2000" b="1">
                <a:ea typeface="+mn-lt"/>
                <a:cs typeface="+mn-lt"/>
              </a:rPr>
              <a:t>in the operating regions.</a:t>
            </a:r>
            <a:endParaRPr lang="en-US"/>
          </a:p>
        </p:txBody>
      </p:sp>
      <p:pic>
        <p:nvPicPr>
          <p:cNvPr id="7" name="Picture 6">
            <a:extLst>
              <a:ext uri="{FF2B5EF4-FFF2-40B4-BE49-F238E27FC236}">
                <a16:creationId xmlns:a16="http://schemas.microsoft.com/office/drawing/2014/main" id="{F1FCFD9C-1A30-C370-76F0-CDEAF85892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89778" y="136540"/>
            <a:ext cx="3643803" cy="295845"/>
          </a:xfrm>
          <a:prstGeom prst="rect">
            <a:avLst/>
          </a:prstGeom>
        </p:spPr>
      </p:pic>
      <p:pic>
        <p:nvPicPr>
          <p:cNvPr id="11" name="Picture 10" descr="A group of kids on swings&#10;&#10;Description automatically generated">
            <a:extLst>
              <a:ext uri="{FF2B5EF4-FFF2-40B4-BE49-F238E27FC236}">
                <a16:creationId xmlns:a16="http://schemas.microsoft.com/office/drawing/2014/main" id="{3B3EDF23-9A5E-A956-E798-A0048805A748}"/>
              </a:ext>
            </a:extLst>
          </p:cNvPr>
          <p:cNvPicPr>
            <a:picLocks noChangeAspect="1"/>
          </p:cNvPicPr>
          <p:nvPr/>
        </p:nvPicPr>
        <p:blipFill>
          <a:blip r:embed="rId3"/>
          <a:stretch>
            <a:fillRect/>
          </a:stretch>
        </p:blipFill>
        <p:spPr>
          <a:xfrm>
            <a:off x="3901208" y="2540579"/>
            <a:ext cx="7639792" cy="3111045"/>
          </a:xfrm>
          <a:prstGeom prst="rect">
            <a:avLst/>
          </a:prstGeom>
        </p:spPr>
      </p:pic>
      <p:sp>
        <p:nvSpPr>
          <p:cNvPr id="12" name="TextBox 11">
            <a:extLst>
              <a:ext uri="{FF2B5EF4-FFF2-40B4-BE49-F238E27FC236}">
                <a16:creationId xmlns:a16="http://schemas.microsoft.com/office/drawing/2014/main" id="{13885081-1F38-ED80-DD34-86AD4AFF479B}"/>
              </a:ext>
            </a:extLst>
          </p:cNvPr>
          <p:cNvSpPr txBox="1"/>
          <p:nvPr/>
        </p:nvSpPr>
        <p:spPr>
          <a:xfrm>
            <a:off x="512270" y="2874312"/>
            <a:ext cx="4273488" cy="2198038"/>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333333"/>
                </a:solidFill>
                <a:cs typeface="Calibri"/>
              </a:rPr>
              <a:t>2021-2024</a:t>
            </a:r>
            <a:endParaRPr lang="en-US">
              <a:solidFill>
                <a:srgbClr val="333333"/>
              </a:solidFill>
              <a:cs typeface="Calibri"/>
            </a:endParaRPr>
          </a:p>
          <a:p>
            <a:pPr algn="ctr"/>
            <a:endParaRPr lang="en-US">
              <a:ea typeface="+mn-lt"/>
              <a:cs typeface="+mn-lt"/>
            </a:endParaRPr>
          </a:p>
          <a:p>
            <a:pPr algn="ctr">
              <a:spcAft>
                <a:spcPts val="533"/>
              </a:spcAft>
            </a:pPr>
            <a:r>
              <a:rPr lang="en-US">
                <a:ea typeface="+mn-lt"/>
                <a:cs typeface="+mn-lt"/>
              </a:rPr>
              <a:t>More than </a:t>
            </a:r>
            <a:r>
              <a:rPr lang="en-US" b="1">
                <a:ea typeface="+mn-lt"/>
                <a:cs typeface="+mn-lt"/>
              </a:rPr>
              <a:t>500</a:t>
            </a:r>
            <a:r>
              <a:rPr lang="el-GR" b="1">
                <a:ea typeface="+mn-lt"/>
                <a:cs typeface="+mn-lt"/>
              </a:rPr>
              <a:t> </a:t>
            </a:r>
            <a:r>
              <a:rPr lang="en-US" b="1">
                <a:ea typeface="+mn-lt"/>
                <a:cs typeface="+mn-lt"/>
              </a:rPr>
              <a:t>total</a:t>
            </a:r>
            <a:r>
              <a:rPr lang="en-US">
                <a:ea typeface="+mn-lt"/>
                <a:cs typeface="+mn-lt"/>
              </a:rPr>
              <a:t> Community Investment projects &amp; activities</a:t>
            </a:r>
          </a:p>
          <a:p>
            <a:pPr algn="ctr">
              <a:spcAft>
                <a:spcPts val="800"/>
              </a:spcAft>
            </a:pPr>
            <a:r>
              <a:rPr lang="el-GR" b="1">
                <a:ea typeface="+mn-lt"/>
                <a:cs typeface="+mn-lt"/>
              </a:rPr>
              <a:t>&gt;</a:t>
            </a:r>
            <a:r>
              <a:rPr lang="en-US" b="1">
                <a:ea typeface="+mn-lt"/>
                <a:cs typeface="+mn-lt"/>
              </a:rPr>
              <a:t> </a:t>
            </a:r>
            <a:r>
              <a:rPr lang="el-GR" b="1">
                <a:ea typeface="+mn-lt"/>
                <a:cs typeface="+mn-lt"/>
              </a:rPr>
              <a:t>€</a:t>
            </a:r>
            <a:r>
              <a:rPr lang="en-US" b="1">
                <a:ea typeface="+mn-lt"/>
                <a:cs typeface="+mn-lt"/>
              </a:rPr>
              <a:t>5,5</a:t>
            </a:r>
            <a:r>
              <a:rPr lang="el-GR" b="1">
                <a:ea typeface="+mn-lt"/>
                <a:cs typeface="+mn-lt"/>
              </a:rPr>
              <a:t> </a:t>
            </a:r>
            <a:r>
              <a:rPr lang="en-US" b="1">
                <a:ea typeface="+mn-lt"/>
                <a:cs typeface="+mn-lt"/>
              </a:rPr>
              <a:t>million</a:t>
            </a:r>
            <a:r>
              <a:rPr lang="el-GR" b="1">
                <a:ea typeface="+mn-lt"/>
                <a:cs typeface="+mn-lt"/>
              </a:rPr>
              <a:t> </a:t>
            </a:r>
            <a:r>
              <a:rPr lang="en-US" b="1">
                <a:ea typeface="+mn-lt"/>
                <a:cs typeface="+mn-lt"/>
              </a:rPr>
              <a:t>total</a:t>
            </a:r>
            <a:r>
              <a:rPr lang="en-US">
                <a:ea typeface="+mn-lt"/>
                <a:cs typeface="+mn-lt"/>
              </a:rPr>
              <a:t> Investment, of which </a:t>
            </a:r>
          </a:p>
          <a:p>
            <a:pPr algn="ctr">
              <a:spcAft>
                <a:spcPts val="800"/>
              </a:spcAft>
            </a:pPr>
            <a:r>
              <a:rPr lang="el-GR" b="1">
                <a:ea typeface="+mn-lt"/>
                <a:cs typeface="+mn-lt"/>
              </a:rPr>
              <a:t>€</a:t>
            </a:r>
            <a:r>
              <a:rPr lang="en-US" b="1">
                <a:ea typeface="+mn-lt"/>
                <a:cs typeface="+mn-lt"/>
              </a:rPr>
              <a:t>4,4 million</a:t>
            </a:r>
            <a:r>
              <a:rPr lang="en-US">
                <a:ea typeface="+mn-lt"/>
                <a:cs typeface="+mn-lt"/>
              </a:rPr>
              <a:t> invested in the </a:t>
            </a:r>
            <a:br>
              <a:rPr lang="en-US">
                <a:ea typeface="+mn-lt"/>
                <a:cs typeface="+mn-lt"/>
              </a:rPr>
            </a:br>
            <a:r>
              <a:rPr lang="en-US">
                <a:ea typeface="+mn-lt"/>
                <a:cs typeface="+mn-lt"/>
              </a:rPr>
              <a:t>Aristotle Municipality</a:t>
            </a:r>
          </a:p>
        </p:txBody>
      </p:sp>
    </p:spTree>
    <p:extLst>
      <p:ext uri="{BB962C8B-B14F-4D97-AF65-F5344CB8AC3E}">
        <p14:creationId xmlns:p14="http://schemas.microsoft.com/office/powerpoint/2010/main" val="2253926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D0EBC0-A71E-8C39-CC6B-69FF206C8B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2D0EBC0-A71E-8C39-CC6B-69FF206C8B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9A534E-97D9-E111-EEF5-E5F990406697}"/>
              </a:ext>
            </a:extLst>
          </p:cNvPr>
          <p:cNvSpPr>
            <a:spLocks noGrp="1"/>
          </p:cNvSpPr>
          <p:nvPr>
            <p:ph type="title"/>
          </p:nvPr>
        </p:nvSpPr>
        <p:spPr>
          <a:xfrm>
            <a:off x="407988" y="313764"/>
            <a:ext cx="6496930" cy="411723"/>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AS" sz="2400">
                <a:latin typeface="Calibri Light"/>
                <a:cs typeface="Calibri Light"/>
              </a:rPr>
              <a:t>MINING </a:t>
            </a:r>
            <a:r>
              <a:rPr lang="en-US" sz="2400">
                <a:latin typeface="Calibri Light"/>
                <a:cs typeface="Calibri Light"/>
              </a:rPr>
              <a:t>ROYALTIES FOR 2021, 2022 &amp; 2023 </a:t>
            </a:r>
            <a:endParaRPr lang="el-GR" sz="2400">
              <a:latin typeface="Calibri Light"/>
              <a:cs typeface="Calibri Light"/>
            </a:endParaRPr>
          </a:p>
        </p:txBody>
      </p:sp>
      <p:graphicFrame>
        <p:nvGraphicFramePr>
          <p:cNvPr id="5" name="Table 5">
            <a:extLst>
              <a:ext uri="{FF2B5EF4-FFF2-40B4-BE49-F238E27FC236}">
                <a16:creationId xmlns:a16="http://schemas.microsoft.com/office/drawing/2014/main" id="{53B08F1D-8821-CABE-4DA9-2F5530CC3955}"/>
              </a:ext>
            </a:extLst>
          </p:cNvPr>
          <p:cNvGraphicFramePr>
            <a:graphicFrameLocks noGrp="1"/>
          </p:cNvGraphicFramePr>
          <p:nvPr>
            <p:extLst>
              <p:ext uri="{D42A27DB-BD31-4B8C-83A1-F6EECF244321}">
                <p14:modId xmlns:p14="http://schemas.microsoft.com/office/powerpoint/2010/main" val="568646625"/>
              </p:ext>
            </p:extLst>
          </p:nvPr>
        </p:nvGraphicFramePr>
        <p:xfrm>
          <a:off x="644527" y="1498161"/>
          <a:ext cx="5781674" cy="2765864"/>
        </p:xfrm>
        <a:graphic>
          <a:graphicData uri="http://schemas.openxmlformats.org/drawingml/2006/table">
            <a:tbl>
              <a:tblPr firstRow="1" bandRow="1">
                <a:tableStyleId>{5C22544A-7EE6-4342-B048-85BDC9FD1C3A}</a:tableStyleId>
              </a:tblPr>
              <a:tblGrid>
                <a:gridCol w="649206">
                  <a:extLst>
                    <a:ext uri="{9D8B030D-6E8A-4147-A177-3AD203B41FA5}">
                      <a16:colId xmlns:a16="http://schemas.microsoft.com/office/drawing/2014/main" val="20000"/>
                    </a:ext>
                  </a:extLst>
                </a:gridCol>
                <a:gridCol w="1700292">
                  <a:extLst>
                    <a:ext uri="{9D8B030D-6E8A-4147-A177-3AD203B41FA5}">
                      <a16:colId xmlns:a16="http://schemas.microsoft.com/office/drawing/2014/main" val="321285693"/>
                    </a:ext>
                  </a:extLst>
                </a:gridCol>
                <a:gridCol w="1801500">
                  <a:extLst>
                    <a:ext uri="{9D8B030D-6E8A-4147-A177-3AD203B41FA5}">
                      <a16:colId xmlns:a16="http://schemas.microsoft.com/office/drawing/2014/main" val="20001"/>
                    </a:ext>
                  </a:extLst>
                </a:gridCol>
                <a:gridCol w="1630676">
                  <a:extLst>
                    <a:ext uri="{9D8B030D-6E8A-4147-A177-3AD203B41FA5}">
                      <a16:colId xmlns:a16="http://schemas.microsoft.com/office/drawing/2014/main" val="20002"/>
                    </a:ext>
                  </a:extLst>
                </a:gridCol>
              </a:tblGrid>
              <a:tr h="1021520">
                <a:tc>
                  <a:txBody>
                    <a:bodyPr/>
                    <a:lstStyle/>
                    <a:p>
                      <a:endParaRPr lang="el-GR" sz="1100">
                        <a:latin typeface="Arial" panose="020B0604020202020204" pitchFamily="34" charset="0"/>
                        <a:cs typeface="Arial" panose="020B0604020202020204" pitchFamily="34" charset="0"/>
                      </a:endParaRPr>
                    </a:p>
                  </a:txBody>
                  <a:tcPr marL="91437" marR="91437" marT="45726" marB="45726"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b="1" kern="1200">
                          <a:solidFill>
                            <a:schemeClr val="lt1"/>
                          </a:solidFill>
                          <a:latin typeface="Arial"/>
                          <a:ea typeface="+mn-ea"/>
                          <a:cs typeface="Arial"/>
                        </a:rPr>
                        <a:t>Total </a:t>
                      </a:r>
                      <a:r>
                        <a:rPr lang="en-AS" sz="1100" b="1" kern="1200">
                          <a:solidFill>
                            <a:schemeClr val="lt1"/>
                          </a:solidFill>
                          <a:latin typeface="Arial"/>
                          <a:ea typeface="+mn-ea"/>
                          <a:cs typeface="Arial"/>
                        </a:rPr>
                        <a:t>Mining </a:t>
                      </a:r>
                      <a:r>
                        <a:rPr lang="en-AS" sz="1100" b="1" kern="1200" err="1">
                          <a:solidFill>
                            <a:schemeClr val="lt1"/>
                          </a:solidFill>
                          <a:latin typeface="Arial"/>
                          <a:ea typeface="+mn-ea"/>
                          <a:cs typeface="Arial"/>
                        </a:rPr>
                        <a:t>Royalties</a:t>
                      </a:r>
                      <a:r>
                        <a:rPr lang="en-US" sz="1100" b="1" kern="1200">
                          <a:solidFill>
                            <a:schemeClr val="lt1"/>
                          </a:solidFill>
                          <a:latin typeface="Arial"/>
                          <a:ea typeface="+mn-ea"/>
                          <a:cs typeface="Arial"/>
                        </a:rPr>
                        <a:t> t</a:t>
                      </a:r>
                      <a:r>
                        <a:rPr lang="en-AS" sz="1100">
                          <a:latin typeface="Arial"/>
                          <a:cs typeface="Arial"/>
                        </a:rPr>
                        <a:t>o the Greek </a:t>
                      </a:r>
                      <a:r>
                        <a:rPr lang="en-AS" sz="1100" err="1">
                          <a:latin typeface="Arial"/>
                          <a:cs typeface="Arial"/>
                        </a:rPr>
                        <a:t>Government</a:t>
                      </a:r>
                      <a:r>
                        <a:rPr lang="en-US" sz="1100">
                          <a:latin typeface="Arial"/>
                          <a:cs typeface="Arial"/>
                        </a:rPr>
                        <a:t>*</a:t>
                      </a:r>
                      <a:endParaRPr lang="el-GR" sz="1100">
                        <a:latin typeface="Arial"/>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p>
                      <a:pPr algn="ctr"/>
                      <a:r>
                        <a:rPr lang="en-US" sz="1100">
                          <a:latin typeface="Arial"/>
                          <a:cs typeface="Arial"/>
                        </a:rPr>
                        <a:t>Hellas Gold royalties t</a:t>
                      </a:r>
                      <a:r>
                        <a:rPr lang="en-AS" sz="1100">
                          <a:latin typeface="Arial"/>
                          <a:cs typeface="Arial"/>
                        </a:rPr>
                        <a:t>o the Greek Government</a:t>
                      </a:r>
                      <a:r>
                        <a:rPr lang="en-US" sz="1100">
                          <a:latin typeface="Arial"/>
                          <a:cs typeface="Arial"/>
                        </a:rPr>
                        <a:t> (</a:t>
                      </a:r>
                      <a:r>
                        <a:rPr lang="en-US" sz="1100" b="1" kern="1200">
                          <a:solidFill>
                            <a:schemeClr val="lt1"/>
                          </a:solidFill>
                          <a:latin typeface="Arial"/>
                          <a:ea typeface="+mn-ea"/>
                          <a:cs typeface="Arial"/>
                        </a:rPr>
                        <a:t>percentage)*</a:t>
                      </a:r>
                      <a:r>
                        <a:rPr lang="el-GR" sz="1100" b="1" kern="1200">
                          <a:solidFill>
                            <a:schemeClr val="lt1"/>
                          </a:solidFill>
                          <a:latin typeface="Arial"/>
                          <a:ea typeface="+mn-ea"/>
                          <a:cs typeface="Arial"/>
                        </a:rPr>
                        <a:t>*</a:t>
                      </a: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p>
                      <a:pPr algn="ctr"/>
                      <a:r>
                        <a:rPr lang="en-US" sz="1100">
                          <a:latin typeface="Arial"/>
                          <a:cs typeface="Arial"/>
                        </a:rPr>
                        <a:t>Royalties to</a:t>
                      </a:r>
                      <a:r>
                        <a:rPr lang="en-AS" sz="1100">
                          <a:latin typeface="Arial"/>
                          <a:cs typeface="Arial"/>
                        </a:rPr>
                        <a:t> </a:t>
                      </a:r>
                      <a:r>
                        <a:rPr lang="en-AS" sz="1100" err="1">
                          <a:latin typeface="Arial"/>
                          <a:cs typeface="Arial"/>
                        </a:rPr>
                        <a:t>Aristotle</a:t>
                      </a:r>
                      <a:r>
                        <a:rPr lang="en-AS" sz="1100">
                          <a:latin typeface="Arial"/>
                          <a:cs typeface="Arial"/>
                        </a:rPr>
                        <a:t> </a:t>
                      </a:r>
                      <a:r>
                        <a:rPr lang="en-AS" sz="1100" err="1">
                          <a:latin typeface="Arial"/>
                          <a:cs typeface="Arial"/>
                        </a:rPr>
                        <a:t>Municipality</a:t>
                      </a:r>
                      <a:r>
                        <a:rPr lang="en-US" sz="1100">
                          <a:latin typeface="Arial"/>
                          <a:cs typeface="Arial"/>
                        </a:rPr>
                        <a:t> (percentage)***</a:t>
                      </a:r>
                      <a:endParaRPr lang="el-GR" sz="1100">
                        <a:latin typeface="Arial"/>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080"/>
                    </a:solidFill>
                  </a:tcPr>
                </a:tc>
                <a:extLst>
                  <a:ext uri="{0D108BD9-81ED-4DB2-BD59-A6C34878D82A}">
                    <a16:rowId xmlns:a16="http://schemas.microsoft.com/office/drawing/2014/main" val="10000"/>
                  </a:ext>
                </a:extLst>
              </a:tr>
              <a:tr h="581448">
                <a:tc>
                  <a:txBody>
                    <a:bodyPr/>
                    <a:lstStyle/>
                    <a:p>
                      <a:pPr algn="ctr"/>
                      <a:r>
                        <a:rPr lang="en-AS" sz="1100" b="1">
                          <a:solidFill>
                            <a:schemeClr val="bg1"/>
                          </a:solidFill>
                          <a:latin typeface="Arial"/>
                          <a:cs typeface="Arial"/>
                        </a:rPr>
                        <a:t>2021</a:t>
                      </a:r>
                      <a:endParaRPr lang="el-GR" sz="1100" b="1">
                        <a:solidFill>
                          <a:schemeClr val="bg1"/>
                        </a:solidFill>
                        <a:latin typeface="Arial"/>
                        <a:cs typeface="Arial"/>
                      </a:endParaRPr>
                    </a:p>
                  </a:txBody>
                  <a:tcPr marL="91437" marR="91437" marT="45726" marB="45726"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1219170" rtl="0" eaLnBrk="1" latinLnBrk="0" hangingPunct="1"/>
                      <a:r>
                        <a:rPr lang="el-GR" sz="1100" b="0" i="1" kern="1200">
                          <a:solidFill>
                            <a:srgbClr val="008080"/>
                          </a:solidFill>
                          <a:latin typeface="Arial"/>
                          <a:ea typeface="+mn-ea"/>
                          <a:cs typeface="Arial"/>
                        </a:rPr>
                        <a:t>12.230.000</a:t>
                      </a:r>
                      <a:r>
                        <a:rPr lang="en-US" sz="1100" b="0" i="1" kern="1200">
                          <a:solidFill>
                            <a:srgbClr val="008080"/>
                          </a:solidFill>
                          <a:latin typeface="Arial"/>
                          <a:ea typeface="+mn-ea"/>
                          <a:cs typeface="Arial"/>
                        </a:rPr>
                        <a:t> </a:t>
                      </a:r>
                      <a:r>
                        <a:rPr lang="el-GR" sz="1100" b="0" i="1" kern="1200">
                          <a:solidFill>
                            <a:srgbClr val="008080"/>
                          </a:solidFill>
                          <a:latin typeface="Arial"/>
                          <a:ea typeface="+mn-ea"/>
                          <a:cs typeface="Arial"/>
                        </a:rPr>
                        <a:t>€</a:t>
                      </a:r>
                      <a:endParaRPr lang="en-US" sz="1100" b="0" i="1" kern="1200">
                        <a:solidFill>
                          <a:srgbClr val="008080"/>
                        </a:solidFill>
                        <a:latin typeface="Arial"/>
                        <a:ea typeface="+mn-ea"/>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l-GR" sz="1100" b="0" i="0" kern="1200">
                          <a:solidFill>
                            <a:schemeClr val="dk1"/>
                          </a:solidFill>
                          <a:effectLst/>
                          <a:latin typeface="Arial"/>
                          <a:ea typeface="+mn-ea"/>
                          <a:cs typeface="Arial"/>
                        </a:rPr>
                        <a:t>6.732.125,60 €</a:t>
                      </a:r>
                      <a:endParaRPr lang="el-GR" sz="1100" b="0">
                        <a:latin typeface="Arial"/>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a:latin typeface="Arial"/>
                          <a:cs typeface="Arial"/>
                        </a:rPr>
                        <a:t>2.</a:t>
                      </a:r>
                      <a:r>
                        <a:rPr lang="el-GR" sz="1100" b="0">
                          <a:latin typeface="Arial"/>
                          <a:cs typeface="Arial"/>
                        </a:rPr>
                        <a:t>414</a:t>
                      </a:r>
                      <a:r>
                        <a:rPr lang="en-US" sz="1100" b="0">
                          <a:latin typeface="Arial"/>
                          <a:cs typeface="Arial"/>
                        </a:rPr>
                        <a:t>.</a:t>
                      </a:r>
                      <a:r>
                        <a:rPr lang="el-GR" sz="1100" b="0">
                          <a:latin typeface="Arial"/>
                          <a:cs typeface="Arial"/>
                        </a:rPr>
                        <a:t>981</a:t>
                      </a:r>
                      <a:r>
                        <a:rPr lang="en-US" sz="1100" b="0">
                          <a:latin typeface="Arial"/>
                          <a:cs typeface="Arial"/>
                        </a:rPr>
                        <a:t>,2</a:t>
                      </a:r>
                      <a:r>
                        <a:rPr lang="el-GR" sz="1100" b="0">
                          <a:latin typeface="Arial"/>
                          <a:cs typeface="Arial"/>
                        </a:rPr>
                        <a:t>9 </a:t>
                      </a:r>
                      <a:r>
                        <a:rPr lang="el-GR" sz="1100" b="0" i="0" kern="1200">
                          <a:solidFill>
                            <a:schemeClr val="dk1"/>
                          </a:solidFill>
                          <a:effectLst/>
                          <a:latin typeface="Arial"/>
                          <a:ea typeface="+mn-ea"/>
                          <a:cs typeface="Arial"/>
                        </a:rPr>
                        <a:t>€ (40%)</a:t>
                      </a:r>
                      <a:endParaRPr lang="el-GR" sz="1100" b="0">
                        <a:latin typeface="Arial"/>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8680616"/>
                  </a:ext>
                </a:extLst>
              </a:tr>
              <a:tr h="581448">
                <a:tc>
                  <a:txBody>
                    <a:bodyPr/>
                    <a:lstStyle/>
                    <a:p>
                      <a:pPr algn="ctr"/>
                      <a:r>
                        <a:rPr lang="en-US" sz="1100" b="1">
                          <a:solidFill>
                            <a:schemeClr val="bg1"/>
                          </a:solidFill>
                          <a:latin typeface="Arial"/>
                          <a:cs typeface="Arial"/>
                        </a:rPr>
                        <a:t>2022</a:t>
                      </a:r>
                      <a:endParaRPr lang="el-GR" sz="1100" b="1">
                        <a:solidFill>
                          <a:schemeClr val="bg1"/>
                        </a:solidFill>
                        <a:latin typeface="Arial"/>
                        <a:cs typeface="Arial"/>
                      </a:endParaRPr>
                    </a:p>
                  </a:txBody>
                  <a:tcPr marL="91437" marR="91437" marT="45726" marB="45726"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b="0" i="1" kern="1200">
                          <a:solidFill>
                            <a:srgbClr val="008080"/>
                          </a:solidFill>
                          <a:latin typeface="Arial"/>
                          <a:ea typeface="+mn-ea"/>
                          <a:cs typeface="Arial"/>
                        </a:rPr>
                        <a:t>15.460.000 </a:t>
                      </a:r>
                      <a:r>
                        <a:rPr lang="el-GR" sz="1100" b="0" i="1" kern="1200">
                          <a:solidFill>
                            <a:srgbClr val="008080"/>
                          </a:solidFill>
                          <a:latin typeface="Arial"/>
                          <a:ea typeface="+mn-ea"/>
                          <a:cs typeface="Arial"/>
                        </a:rPr>
                        <a:t>€</a:t>
                      </a:r>
                      <a:endParaRPr lang="en-US" sz="1100" b="0" i="1" kern="1200">
                        <a:solidFill>
                          <a:srgbClr val="008080"/>
                        </a:solidFill>
                        <a:latin typeface="Arial"/>
                        <a:ea typeface="+mn-ea"/>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l-GR" sz="1100" b="0">
                          <a:latin typeface="Arial"/>
                          <a:cs typeface="Arial"/>
                        </a:rPr>
                        <a:t>8.766.754,87 €</a:t>
                      </a: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l-GR" sz="1100" b="0">
                          <a:latin typeface="Arial"/>
                          <a:cs typeface="Arial"/>
                        </a:rPr>
                        <a:t>3.506.692 € (40%)</a:t>
                      </a:r>
                    </a:p>
                  </a:txBody>
                  <a:tcPr marL="91437" marR="91437" marT="45726" marB="45726" anchor="ctr">
                    <a:lnL w="12700" cap="flat" cmpd="sng" algn="ctr">
                      <a:solidFill>
                        <a:schemeClr val="bg1">
                          <a:lumMod val="95000"/>
                        </a:schemeClr>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81448">
                <a:tc>
                  <a:txBody>
                    <a:bodyPr/>
                    <a:lstStyle/>
                    <a:p>
                      <a:pPr algn="ctr"/>
                      <a:r>
                        <a:rPr lang="en-US" sz="1100" b="1">
                          <a:solidFill>
                            <a:schemeClr val="bg1"/>
                          </a:solidFill>
                          <a:latin typeface="Arial"/>
                          <a:cs typeface="Arial"/>
                        </a:rPr>
                        <a:t>2023</a:t>
                      </a:r>
                      <a:endParaRPr lang="el-GR" sz="1100" b="1">
                        <a:solidFill>
                          <a:schemeClr val="bg1"/>
                        </a:solidFill>
                        <a:latin typeface="Arial"/>
                        <a:cs typeface="Arial"/>
                      </a:endParaRPr>
                    </a:p>
                  </a:txBody>
                  <a:tcPr marL="91437" marR="91437" marT="45726" marB="45726"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algn="ctr" rtl="0" eaLnBrk="1" latinLnBrk="0" hangingPunct="1"/>
                      <a:r>
                        <a:rPr lang="el-GR" sz="1100" b="0" i="1" kern="1200" err="1">
                          <a:solidFill>
                            <a:srgbClr val="008080"/>
                          </a:solidFill>
                          <a:latin typeface="Arial"/>
                          <a:ea typeface="+mn-ea"/>
                          <a:cs typeface="Arial"/>
                        </a:rPr>
                        <a:t>Not</a:t>
                      </a:r>
                      <a:r>
                        <a:rPr lang="el-GR" sz="1100" b="0" i="1" kern="1200">
                          <a:solidFill>
                            <a:srgbClr val="008080"/>
                          </a:solidFill>
                          <a:latin typeface="Arial"/>
                          <a:ea typeface="+mn-ea"/>
                          <a:cs typeface="Arial"/>
                        </a:rPr>
                        <a:t> </a:t>
                      </a:r>
                      <a:r>
                        <a:rPr lang="el-GR" sz="1100" b="0" i="1" kern="1200" err="1">
                          <a:solidFill>
                            <a:srgbClr val="008080"/>
                          </a:solidFill>
                          <a:latin typeface="Arial"/>
                          <a:ea typeface="+mn-ea"/>
                          <a:cs typeface="Arial"/>
                        </a:rPr>
                        <a:t>published</a:t>
                      </a:r>
                      <a:r>
                        <a:rPr lang="el-GR" sz="1100" b="0" i="1" kern="1200">
                          <a:solidFill>
                            <a:srgbClr val="008080"/>
                          </a:solidFill>
                          <a:latin typeface="Arial"/>
                          <a:ea typeface="+mn-ea"/>
                          <a:cs typeface="Arial"/>
                        </a:rPr>
                        <a:t> </a:t>
                      </a:r>
                      <a:r>
                        <a:rPr lang="el-GR" sz="1100" b="0" i="1" kern="1200" err="1">
                          <a:solidFill>
                            <a:srgbClr val="008080"/>
                          </a:solidFill>
                          <a:latin typeface="Arial"/>
                          <a:ea typeface="+mn-ea"/>
                          <a:cs typeface="Arial"/>
                        </a:rPr>
                        <a:t>yet</a:t>
                      </a:r>
                      <a:endParaRPr lang="en-US" sz="1100" b="0" i="1" kern="1200" err="1">
                        <a:solidFill>
                          <a:srgbClr val="008080"/>
                        </a:solidFill>
                        <a:latin typeface="Arial"/>
                        <a:ea typeface="+mn-ea"/>
                        <a:cs typeface="Arial"/>
                      </a:endParaRP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l-GR" sz="1100" b="0">
                          <a:latin typeface="Arial"/>
                          <a:cs typeface="Arial"/>
                        </a:rPr>
                        <a:t>12.755.241 € </a:t>
                      </a:r>
                    </a:p>
                  </a:txBody>
                  <a:tcPr marL="91437" marR="91437" marT="45726" marB="4572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l-GR" sz="1100" b="0">
                          <a:latin typeface="Arial"/>
                          <a:cs typeface="Arial"/>
                        </a:rPr>
                        <a:t>5.102.096 € (40%)</a:t>
                      </a:r>
                    </a:p>
                  </a:txBody>
                  <a:tcPr marL="91437" marR="91437" marT="45726" marB="45726" anchor="ctr">
                    <a:lnL w="12700" cap="flat" cmpd="sng" algn="ctr">
                      <a:solidFill>
                        <a:schemeClr val="bg1">
                          <a:lumMod val="95000"/>
                        </a:schemeClr>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430" name="TextBox 5">
            <a:extLst>
              <a:ext uri="{FF2B5EF4-FFF2-40B4-BE49-F238E27FC236}">
                <a16:creationId xmlns:a16="http://schemas.microsoft.com/office/drawing/2014/main" id="{831966FF-B2A8-0C72-4075-2928EC6CE50C}"/>
              </a:ext>
            </a:extLst>
          </p:cNvPr>
          <p:cNvSpPr txBox="1">
            <a:spLocks noChangeArrowheads="1"/>
          </p:cNvSpPr>
          <p:nvPr/>
        </p:nvSpPr>
        <p:spPr bwMode="auto">
          <a:xfrm>
            <a:off x="644526" y="4448614"/>
            <a:ext cx="5895973"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US" altLang="el-GR" sz="800" i="1">
                <a:cs typeface="Arial" panose="020B0604020202020204" pitchFamily="34" charset="0"/>
              </a:rPr>
              <a:t>*According to the Ministry’s annual reports</a:t>
            </a:r>
            <a:r>
              <a:rPr lang="el-GR" altLang="el-GR" sz="800" i="1">
                <a:cs typeface="Arial" panose="020B0604020202020204" pitchFamily="34" charset="0"/>
              </a:rPr>
              <a:t>.</a:t>
            </a:r>
            <a:r>
              <a:rPr lang="en-US" altLang="el-GR" sz="800" i="1">
                <a:cs typeface="Arial" panose="020B0604020202020204" pitchFamily="34" charset="0"/>
              </a:rPr>
              <a:t> </a:t>
            </a:r>
          </a:p>
          <a:p>
            <a:pPr eaLnBrk="1" hangingPunct="1">
              <a:spcAft>
                <a:spcPts val="600"/>
              </a:spcAft>
            </a:pPr>
            <a:r>
              <a:rPr lang="en-US" altLang="el-GR" sz="800" i="1">
                <a:cs typeface="Arial" panose="020B0604020202020204" pitchFamily="34" charset="0"/>
              </a:rPr>
              <a:t>**According to the New Investment Agreement the mining royalties paid to the Greek State are increased by 10% on contented metal not on payable.</a:t>
            </a:r>
            <a:endParaRPr lang="el-GR" altLang="el-GR" sz="800" i="1">
              <a:cs typeface="Arial" panose="020B0604020202020204" pitchFamily="34" charset="0"/>
            </a:endParaRPr>
          </a:p>
          <a:p>
            <a:pPr eaLnBrk="1" hangingPunct="1">
              <a:spcAft>
                <a:spcPts val="600"/>
              </a:spcAft>
            </a:pPr>
            <a:r>
              <a:rPr lang="en-US" altLang="el-GR" sz="800" i="1">
                <a:cs typeface="Arial" panose="020B0604020202020204" pitchFamily="34" charset="0"/>
              </a:rPr>
              <a:t>***The percentage of total royalties that is transferred to Aristotle Municipality has been doubled (from 20% to 40%).</a:t>
            </a:r>
          </a:p>
          <a:p>
            <a:pPr eaLnBrk="1" hangingPunct="1">
              <a:spcAft>
                <a:spcPts val="600"/>
              </a:spcAft>
            </a:pPr>
            <a:endParaRPr lang="en-US" altLang="el-GR" sz="800" i="1">
              <a:cs typeface="Arial" panose="020B0604020202020204" pitchFamily="34" charset="0"/>
            </a:endParaRPr>
          </a:p>
        </p:txBody>
      </p:sp>
      <p:sp>
        <p:nvSpPr>
          <p:cNvPr id="3" name="Slide Number Placeholder 3">
            <a:extLst>
              <a:ext uri="{FF2B5EF4-FFF2-40B4-BE49-F238E27FC236}">
                <a16:creationId xmlns:a16="http://schemas.microsoft.com/office/drawing/2014/main" id="{1D06AD17-B49B-BE58-B358-9B231164E491}"/>
              </a:ext>
            </a:extLst>
          </p:cNvPr>
          <p:cNvSpPr>
            <a:spLocks noGrp="1"/>
          </p:cNvSpPr>
          <p:nvPr>
            <p:ph type="sldNum" sz="quarter" idx="10"/>
          </p:nvPr>
        </p:nvSpPr>
        <p:spPr>
          <a:xfrm>
            <a:off x="11369675" y="6435725"/>
            <a:ext cx="569913" cy="2936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C4F754-80FF-4538-883F-C84553F217C3}" type="slidenum">
              <a:rPr kumimoji="0" lang="en-US" sz="900" b="0" i="0" u="none" strike="noStrike" kern="1200" cap="none" spc="0" normalizeH="0" baseline="0" noProof="0" smtClean="0">
                <a:ln>
                  <a:noFill/>
                </a:ln>
                <a:solidFill>
                  <a:srgbClr val="48413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48413E"/>
              </a:solidFill>
              <a:effectLst/>
              <a:uLnTx/>
              <a:uFillTx/>
              <a:latin typeface="Arial"/>
              <a:ea typeface="+mn-ea"/>
              <a:cs typeface="+mn-cs"/>
            </a:endParaRPr>
          </a:p>
        </p:txBody>
      </p:sp>
      <p:pic>
        <p:nvPicPr>
          <p:cNvPr id="7" name="Graphic 6" descr="Clipboard Checked with solid fill">
            <a:extLst>
              <a:ext uri="{FF2B5EF4-FFF2-40B4-BE49-F238E27FC236}">
                <a16:creationId xmlns:a16="http://schemas.microsoft.com/office/drawing/2014/main" id="{35C47E62-18EB-667B-EB2C-300D5C02C9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7852" y="1682750"/>
            <a:ext cx="647700" cy="647700"/>
          </a:xfrm>
          <a:prstGeom prst="rect">
            <a:avLst/>
          </a:prstGeom>
        </p:spPr>
      </p:pic>
      <p:pic>
        <p:nvPicPr>
          <p:cNvPr id="8" name="Picture 7" descr="A road with trees on the side&#10;&#10;Description automatically generated">
            <a:extLst>
              <a:ext uri="{FF2B5EF4-FFF2-40B4-BE49-F238E27FC236}">
                <a16:creationId xmlns:a16="http://schemas.microsoft.com/office/drawing/2014/main" id="{117DF3E9-D811-C54F-369B-8DE070FAD2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0564" y="1589810"/>
            <a:ext cx="5141422" cy="3429000"/>
          </a:xfrm>
          <a:prstGeom prst="rect">
            <a:avLst/>
          </a:prstGeom>
          <a:ln>
            <a:noFill/>
          </a:ln>
          <a:effectLst>
            <a:softEdge rad="112500"/>
          </a:effectLst>
        </p:spPr>
      </p:pic>
    </p:spTree>
    <p:extLst>
      <p:ext uri="{BB962C8B-B14F-4D97-AF65-F5344CB8AC3E}">
        <p14:creationId xmlns:p14="http://schemas.microsoft.com/office/powerpoint/2010/main" val="3793366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B1C57-CAF2-AD00-2C9B-0E4FA8B8C79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E3778A4-9222-74DD-9A8C-080E3A218BFB}"/>
              </a:ext>
            </a:extLst>
          </p:cNvPr>
          <p:cNvSpPr>
            <a:spLocks noGrp="1"/>
          </p:cNvSpPr>
          <p:nvPr>
            <p:ph type="title"/>
          </p:nvPr>
        </p:nvSpPr>
        <p:spPr>
          <a:xfrm>
            <a:off x="340996" y="365474"/>
            <a:ext cx="7552938" cy="492443"/>
          </a:xfrm>
          <a:noFill/>
          <a:ln/>
        </p:spPr>
        <p:txBody>
          <a:bodyPr vert="horz" wrap="square" lIns="0" tIns="45720" rIns="91440" bIns="45720" anchor="ctr" anchorCtr="0">
            <a:noAutofit/>
          </a:bodyPr>
          <a:lstStyle/>
          <a:p>
            <a:r>
              <a:rPr lang="en-US" sz="3200"/>
              <a:t>Our Approach to Sustainability</a:t>
            </a:r>
          </a:p>
        </p:txBody>
      </p:sp>
      <p:sp>
        <p:nvSpPr>
          <p:cNvPr id="4" name="Slide Number Placeholder 3">
            <a:extLst>
              <a:ext uri="{FF2B5EF4-FFF2-40B4-BE49-F238E27FC236}">
                <a16:creationId xmlns:a16="http://schemas.microsoft.com/office/drawing/2014/main" id="{11B819CE-016B-C19F-4338-894634C40853}"/>
              </a:ext>
            </a:extLst>
          </p:cNvPr>
          <p:cNvSpPr>
            <a:spLocks noGrp="1"/>
          </p:cNvSpPr>
          <p:nvPr>
            <p:ph type="sldNum" sz="quarter" idx="4"/>
          </p:nvPr>
        </p:nvSpPr>
        <p:spPr/>
        <p:txBody>
          <a:bodyPr/>
          <a:lstStyle/>
          <a:p>
            <a:pPr>
              <a:defRPr/>
            </a:pPr>
            <a:fld id="{D65ACB9B-F2BC-4FE9-9640-F5E580D0F44C}" type="slidenum">
              <a:rPr lang="en-US" altLang="en-US" smtClean="0"/>
              <a:pPr>
                <a:defRPr/>
              </a:pPr>
              <a:t>2</a:t>
            </a:fld>
            <a:endParaRPr lang="en-US" altLang="en-US"/>
          </a:p>
        </p:txBody>
      </p:sp>
      <p:pic>
        <p:nvPicPr>
          <p:cNvPr id="13" name="Picture 12">
            <a:extLst>
              <a:ext uri="{FF2B5EF4-FFF2-40B4-BE49-F238E27FC236}">
                <a16:creationId xmlns:a16="http://schemas.microsoft.com/office/drawing/2014/main" id="{28A9BE04-541E-D5F4-C8D2-0EA0F37757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pic>
        <p:nvPicPr>
          <p:cNvPr id="10" name="Picture 9" descr="A green and yellow background with white text&#10;&#10;Description automatically generated">
            <a:extLst>
              <a:ext uri="{FF2B5EF4-FFF2-40B4-BE49-F238E27FC236}">
                <a16:creationId xmlns:a16="http://schemas.microsoft.com/office/drawing/2014/main" id="{6375BC40-1525-1B69-FFB0-22AA66FFC7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4810" y="1135181"/>
            <a:ext cx="9617273" cy="4587638"/>
          </a:xfrm>
          <a:prstGeom prst="rect">
            <a:avLst/>
          </a:prstGeom>
        </p:spPr>
      </p:pic>
    </p:spTree>
    <p:extLst>
      <p:ext uri="{BB962C8B-B14F-4D97-AF65-F5344CB8AC3E}">
        <p14:creationId xmlns:p14="http://schemas.microsoft.com/office/powerpoint/2010/main" val="202947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A1E1E-BAAC-DB2A-0A55-BF4AA871E409}"/>
            </a:ext>
          </a:extLst>
        </p:cNvPr>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D6F40C42-AC19-1B37-1A28-E1115D960468}"/>
              </a:ext>
            </a:extLst>
          </p:cNvPr>
          <p:cNvGraphicFramePr/>
          <p:nvPr>
            <p:extLst>
              <p:ext uri="{D42A27DB-BD31-4B8C-83A1-F6EECF244321}">
                <p14:modId xmlns:p14="http://schemas.microsoft.com/office/powerpoint/2010/main" val="2546848005"/>
              </p:ext>
            </p:extLst>
          </p:nvPr>
        </p:nvGraphicFramePr>
        <p:xfrm>
          <a:off x="360000" y="1080000"/>
          <a:ext cx="7533934" cy="4393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BAC65038-DCDB-FEF5-88B9-BF2C2BCFAE63}"/>
              </a:ext>
            </a:extLst>
          </p:cNvPr>
          <p:cNvSpPr>
            <a:spLocks noGrp="1"/>
          </p:cNvSpPr>
          <p:nvPr>
            <p:ph type="title"/>
          </p:nvPr>
        </p:nvSpPr>
        <p:spPr>
          <a:xfrm>
            <a:off x="340996" y="365474"/>
            <a:ext cx="7552938" cy="492443"/>
          </a:xfrm>
        </p:spPr>
        <p:txBody>
          <a:bodyPr/>
          <a:lstStyle/>
          <a:p>
            <a:r>
              <a:rPr lang="en-US" sz="3200"/>
              <a:t>Building Public Trust Through Transparency</a:t>
            </a:r>
          </a:p>
        </p:txBody>
      </p:sp>
      <p:sp>
        <p:nvSpPr>
          <p:cNvPr id="4" name="Slide Number Placeholder 3">
            <a:extLst>
              <a:ext uri="{FF2B5EF4-FFF2-40B4-BE49-F238E27FC236}">
                <a16:creationId xmlns:a16="http://schemas.microsoft.com/office/drawing/2014/main" id="{51F431E6-5DE3-9D7E-B021-CC147718D037}"/>
              </a:ext>
            </a:extLst>
          </p:cNvPr>
          <p:cNvSpPr>
            <a:spLocks noGrp="1"/>
          </p:cNvSpPr>
          <p:nvPr>
            <p:ph type="sldNum" sz="quarter" idx="4"/>
          </p:nvPr>
        </p:nvSpPr>
        <p:spPr/>
        <p:txBody>
          <a:bodyPr/>
          <a:lstStyle/>
          <a:p>
            <a:pPr>
              <a:defRPr/>
            </a:pPr>
            <a:fld id="{D65ACB9B-F2BC-4FE9-9640-F5E580D0F44C}" type="slidenum">
              <a:rPr lang="en-US" altLang="en-US" smtClean="0"/>
              <a:pPr>
                <a:defRPr/>
              </a:pPr>
              <a:t>3</a:t>
            </a:fld>
            <a:endParaRPr lang="en-US" altLang="en-US"/>
          </a:p>
        </p:txBody>
      </p:sp>
      <p:sp>
        <p:nvSpPr>
          <p:cNvPr id="8" name="TextBox 7">
            <a:extLst>
              <a:ext uri="{FF2B5EF4-FFF2-40B4-BE49-F238E27FC236}">
                <a16:creationId xmlns:a16="http://schemas.microsoft.com/office/drawing/2014/main" id="{AEF560EB-2193-C8FF-BC0C-FC1AFF53A782}"/>
              </a:ext>
            </a:extLst>
          </p:cNvPr>
          <p:cNvSpPr txBox="1"/>
          <p:nvPr/>
        </p:nvSpPr>
        <p:spPr>
          <a:xfrm>
            <a:off x="303170" y="2039063"/>
            <a:ext cx="7633040" cy="1181002"/>
          </a:xfrm>
          <a:prstGeom prst="rect">
            <a:avLst/>
          </a:prstGeom>
          <a:noFill/>
          <a:ln w="9525" cap="flat" cmpd="sng" algn="ctr">
            <a:solidFill>
              <a:schemeClr val="tx1">
                <a:lumMod val="60000"/>
                <a:lumOff val="40000"/>
              </a:schemeClr>
            </a:solidFill>
            <a:prstDash val="lgDashDotDot"/>
          </a:ln>
          <a:effectLst/>
        </p:spPr>
        <p:txBody>
          <a:bodyPr spcFirstLastPara="0" vert="horz" wrap="square" lIns="53340" tIns="53340" rIns="53340" bIns="53340" numCol="1" spcCol="1270" anchor="t" anchorCtr="0">
            <a:noAutofit/>
          </a:bodyPr>
          <a:lstStyle>
            <a:defPPr>
              <a:defRPr lang="en-US"/>
            </a:defPPr>
            <a:lvl1pPr>
              <a:defRPr b="0" i="0" baseline="0"/>
            </a:lvl1pPr>
          </a:lstStyle>
          <a:p>
            <a:pPr algn="ctr"/>
            <a:r>
              <a:rPr lang="en-GB" b="1"/>
              <a:t>Mining lifecycle stages</a:t>
            </a:r>
          </a:p>
        </p:txBody>
      </p:sp>
      <p:pic>
        <p:nvPicPr>
          <p:cNvPr id="9" name="Picture 8" descr="Aerial view of a large factory&#10;&#10;Description automatically generated">
            <a:extLst>
              <a:ext uri="{FF2B5EF4-FFF2-40B4-BE49-F238E27FC236}">
                <a16:creationId xmlns:a16="http://schemas.microsoft.com/office/drawing/2014/main" id="{DCDB0002-15DF-7A2F-FF11-C13E22B72B4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69628" y="2357872"/>
            <a:ext cx="3853018" cy="2889764"/>
          </a:xfrm>
          <a:prstGeom prst="rect">
            <a:avLst/>
          </a:prstGeom>
          <a:ln>
            <a:noFill/>
          </a:ln>
          <a:effectLst>
            <a:softEdge rad="112500"/>
          </a:effectLst>
        </p:spPr>
      </p:pic>
      <p:pic>
        <p:nvPicPr>
          <p:cNvPr id="5" name="Picture 4">
            <a:extLst>
              <a:ext uri="{FF2B5EF4-FFF2-40B4-BE49-F238E27FC236}">
                <a16:creationId xmlns:a16="http://schemas.microsoft.com/office/drawing/2014/main" id="{77D94653-3958-6A86-CF31-AE2173D285A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sp>
        <p:nvSpPr>
          <p:cNvPr id="2" name="Arrow: Left-Right 1">
            <a:extLst>
              <a:ext uri="{FF2B5EF4-FFF2-40B4-BE49-F238E27FC236}">
                <a16:creationId xmlns:a16="http://schemas.microsoft.com/office/drawing/2014/main" id="{FDB3EB9F-84EF-3A5D-E097-F0C698E4314C}"/>
              </a:ext>
            </a:extLst>
          </p:cNvPr>
          <p:cNvSpPr/>
          <p:nvPr/>
        </p:nvSpPr>
        <p:spPr>
          <a:xfrm>
            <a:off x="440086" y="3418161"/>
            <a:ext cx="7496124" cy="889788"/>
          </a:xfrm>
          <a:prstGeom prst="leftRightArrow">
            <a:avLst>
              <a:gd name="adj1" fmla="val 71626"/>
              <a:gd name="adj2"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ysClr val="windowText" lastClr="000000"/>
                </a:solidFill>
              </a:rPr>
              <a:t>Transparency</a:t>
            </a:r>
            <a:br>
              <a:rPr lang="en-US">
                <a:solidFill>
                  <a:sysClr val="windowText" lastClr="000000"/>
                </a:solidFill>
              </a:rPr>
            </a:br>
            <a:r>
              <a:rPr lang="en-US">
                <a:solidFill>
                  <a:sysClr val="windowText" lastClr="000000"/>
                </a:solidFill>
              </a:rPr>
              <a:t>Maintain open communication &amp; engagement at each stage</a:t>
            </a:r>
          </a:p>
        </p:txBody>
      </p:sp>
      <p:sp>
        <p:nvSpPr>
          <p:cNvPr id="6" name="Arrow: Left-Right 5">
            <a:extLst>
              <a:ext uri="{FF2B5EF4-FFF2-40B4-BE49-F238E27FC236}">
                <a16:creationId xmlns:a16="http://schemas.microsoft.com/office/drawing/2014/main" id="{6415D4FA-A03E-7893-D009-77234C90E9A6}"/>
              </a:ext>
            </a:extLst>
          </p:cNvPr>
          <p:cNvSpPr/>
          <p:nvPr/>
        </p:nvSpPr>
        <p:spPr>
          <a:xfrm>
            <a:off x="454640" y="4357848"/>
            <a:ext cx="7496124" cy="889788"/>
          </a:xfrm>
          <a:prstGeom prst="leftRightArrow">
            <a:avLst>
              <a:gd name="adj1" fmla="val 71626"/>
              <a:gd name="adj2" fmla="val 50000"/>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ysClr val="windowText" lastClr="000000"/>
                </a:solidFill>
              </a:rPr>
              <a:t>Responsibility</a:t>
            </a:r>
            <a:br>
              <a:rPr lang="en-US">
                <a:solidFill>
                  <a:sysClr val="windowText" lastClr="000000"/>
                </a:solidFill>
              </a:rPr>
            </a:br>
            <a:r>
              <a:rPr lang="en-US">
                <a:solidFill>
                  <a:sysClr val="windowText" lastClr="000000"/>
                </a:solidFill>
              </a:rPr>
              <a:t>Solid sustainability performance</a:t>
            </a:r>
          </a:p>
        </p:txBody>
      </p:sp>
    </p:spTree>
    <p:extLst>
      <p:ext uri="{BB962C8B-B14F-4D97-AF65-F5344CB8AC3E}">
        <p14:creationId xmlns:p14="http://schemas.microsoft.com/office/powerpoint/2010/main" val="2502141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27D0E7-8C86-4AC1-963E-49927FFDB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9627D0E7-8C86-4AC1-963E-49927FFDB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8DDAFADD-78BB-33D6-C245-E38FC6FD4B94}"/>
              </a:ext>
            </a:extLst>
          </p:cNvPr>
          <p:cNvSpPr/>
          <p:nvPr/>
        </p:nvSpPr>
        <p:spPr>
          <a:xfrm>
            <a:off x="1009302" y="1028380"/>
            <a:ext cx="4476315" cy="4480288"/>
          </a:xfrm>
          <a:prstGeom prst="rect">
            <a:avLst/>
          </a:prstGeom>
          <a:solidFill>
            <a:schemeClr val="bg1">
              <a:lumMod val="9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77" name="Google Shape;1782;p14">
            <a:extLst>
              <a:ext uri="{FF2B5EF4-FFF2-40B4-BE49-F238E27FC236}">
                <a16:creationId xmlns:a16="http://schemas.microsoft.com/office/drawing/2014/main" id="{88236D92-2A2D-0A8C-B6DE-18E9812D9332}"/>
              </a:ext>
            </a:extLst>
          </p:cNvPr>
          <p:cNvGrpSpPr/>
          <p:nvPr/>
        </p:nvGrpSpPr>
        <p:grpSpPr>
          <a:xfrm>
            <a:off x="1238984" y="1673747"/>
            <a:ext cx="3715338" cy="3309843"/>
            <a:chOff x="442913" y="1485823"/>
            <a:chExt cx="4648423" cy="4600651"/>
          </a:xfrm>
        </p:grpSpPr>
        <p:sp>
          <p:nvSpPr>
            <p:cNvPr id="78" name="Google Shape;1783;p14">
              <a:extLst>
                <a:ext uri="{FF2B5EF4-FFF2-40B4-BE49-F238E27FC236}">
                  <a16:creationId xmlns:a16="http://schemas.microsoft.com/office/drawing/2014/main" id="{8DA3DD60-B5D4-75DA-3925-24FF6FCBA290}"/>
                </a:ext>
              </a:extLst>
            </p:cNvPr>
            <p:cNvSpPr/>
            <p:nvPr/>
          </p:nvSpPr>
          <p:spPr>
            <a:xfrm rot="5400000">
              <a:off x="3099465" y="1485824"/>
              <a:ext cx="1898399" cy="1898398"/>
            </a:xfrm>
            <a:prstGeom prst="round1Rect">
              <a:avLst>
                <a:gd name="adj" fmla="val 16667"/>
              </a:avLst>
            </a:prstGeom>
            <a:solidFill>
              <a:schemeClr val="accent5">
                <a:lumMod val="20000"/>
                <a:lumOff val="80000"/>
              </a:schemeClr>
            </a:solid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sp>
          <p:nvSpPr>
            <p:cNvPr id="79" name="Google Shape;1784;p14">
              <a:extLst>
                <a:ext uri="{FF2B5EF4-FFF2-40B4-BE49-F238E27FC236}">
                  <a16:creationId xmlns:a16="http://schemas.microsoft.com/office/drawing/2014/main" id="{D288924C-2F43-80B8-EA84-99EE54B6F19A}"/>
                </a:ext>
              </a:extLst>
            </p:cNvPr>
            <p:cNvSpPr/>
            <p:nvPr/>
          </p:nvSpPr>
          <p:spPr>
            <a:xfrm rot="10800000">
              <a:off x="3192938" y="4188075"/>
              <a:ext cx="1898398" cy="1898399"/>
            </a:xfrm>
            <a:prstGeom prst="round1Rect">
              <a:avLst>
                <a:gd name="adj" fmla="val 16667"/>
              </a:avLst>
            </a:prstGeom>
            <a:solidFill>
              <a:schemeClr val="accent5">
                <a:lumMod val="40000"/>
                <a:lumOff val="60000"/>
              </a:schemeClr>
            </a:solid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sp>
          <p:nvSpPr>
            <p:cNvPr id="80" name="Google Shape;1785;p14">
              <a:extLst>
                <a:ext uri="{FF2B5EF4-FFF2-40B4-BE49-F238E27FC236}">
                  <a16:creationId xmlns:a16="http://schemas.microsoft.com/office/drawing/2014/main" id="{E71FBC1D-40FF-978C-EEF0-853A650F6D63}"/>
                </a:ext>
              </a:extLst>
            </p:cNvPr>
            <p:cNvSpPr/>
            <p:nvPr/>
          </p:nvSpPr>
          <p:spPr>
            <a:xfrm rot="-5400000">
              <a:off x="442913" y="4188076"/>
              <a:ext cx="1898399" cy="1898398"/>
            </a:xfrm>
            <a:prstGeom prst="round1Rect">
              <a:avLst>
                <a:gd name="adj" fmla="val 16667"/>
              </a:avLst>
            </a:prstGeom>
            <a:solidFill>
              <a:schemeClr val="accent5">
                <a:lumMod val="20000"/>
                <a:lumOff val="80000"/>
              </a:schemeClr>
            </a:solid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sp>
          <p:nvSpPr>
            <p:cNvPr id="81" name="Google Shape;1786;p14">
              <a:extLst>
                <a:ext uri="{FF2B5EF4-FFF2-40B4-BE49-F238E27FC236}">
                  <a16:creationId xmlns:a16="http://schemas.microsoft.com/office/drawing/2014/main" id="{07D7C5E1-6F15-5D9B-2635-3EE474E46870}"/>
                </a:ext>
              </a:extLst>
            </p:cNvPr>
            <p:cNvSpPr/>
            <p:nvPr/>
          </p:nvSpPr>
          <p:spPr>
            <a:xfrm>
              <a:off x="442913" y="1485824"/>
              <a:ext cx="1898398" cy="1898399"/>
            </a:xfrm>
            <a:prstGeom prst="round1Rect">
              <a:avLst>
                <a:gd name="adj" fmla="val 16667"/>
              </a:avLst>
            </a:prstGeom>
            <a:solidFill>
              <a:schemeClr val="accent5">
                <a:lumMod val="40000"/>
                <a:lumOff val="60000"/>
              </a:schemeClr>
            </a:solid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lt1"/>
                </a:solidFill>
                <a:latin typeface="Arial"/>
                <a:ea typeface="Arial"/>
                <a:cs typeface="Arial"/>
                <a:sym typeface="Arial"/>
              </a:endParaRPr>
            </a:p>
          </p:txBody>
        </p:sp>
        <p:sp>
          <p:nvSpPr>
            <p:cNvPr id="82" name="Google Shape;1787;p14">
              <a:extLst>
                <a:ext uri="{FF2B5EF4-FFF2-40B4-BE49-F238E27FC236}">
                  <a16:creationId xmlns:a16="http://schemas.microsoft.com/office/drawing/2014/main" id="{0A5C8D5E-3D0C-046C-3BDE-277BF3645738}"/>
                </a:ext>
              </a:extLst>
            </p:cNvPr>
            <p:cNvSpPr/>
            <p:nvPr/>
          </p:nvSpPr>
          <p:spPr>
            <a:xfrm>
              <a:off x="2066125" y="3237537"/>
              <a:ext cx="1409940" cy="1266123"/>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Arial"/>
                <a:ea typeface="Arial"/>
                <a:cs typeface="Arial"/>
                <a:sym typeface="Arial"/>
              </a:endParaRPr>
            </a:p>
          </p:txBody>
        </p:sp>
        <p:sp>
          <p:nvSpPr>
            <p:cNvPr id="83" name="Google Shape;1788;p14">
              <a:extLst>
                <a:ext uri="{FF2B5EF4-FFF2-40B4-BE49-F238E27FC236}">
                  <a16:creationId xmlns:a16="http://schemas.microsoft.com/office/drawing/2014/main" id="{CAAF4B0B-E294-1D1E-C36C-6EA72AE37EB4}"/>
                </a:ext>
              </a:extLst>
            </p:cNvPr>
            <p:cNvSpPr/>
            <p:nvPr/>
          </p:nvSpPr>
          <p:spPr>
            <a:xfrm>
              <a:off x="2118219" y="1485824"/>
              <a:ext cx="1266122" cy="2169416"/>
            </a:xfrm>
            <a:custGeom>
              <a:avLst/>
              <a:gdLst/>
              <a:ahLst/>
              <a:cxnLst/>
              <a:rect l="l" t="t" r="r" b="b"/>
              <a:pathLst>
                <a:path w="670" h="1148" extrusionOk="0">
                  <a:moveTo>
                    <a:pt x="574" y="806"/>
                  </a:moveTo>
                  <a:lnTo>
                    <a:pt x="574" y="648"/>
                  </a:lnTo>
                  <a:lnTo>
                    <a:pt x="574" y="648"/>
                  </a:lnTo>
                  <a:lnTo>
                    <a:pt x="572" y="622"/>
                  </a:lnTo>
                  <a:lnTo>
                    <a:pt x="570" y="598"/>
                  </a:lnTo>
                  <a:lnTo>
                    <a:pt x="564" y="576"/>
                  </a:lnTo>
                  <a:lnTo>
                    <a:pt x="556" y="554"/>
                  </a:lnTo>
                  <a:lnTo>
                    <a:pt x="546" y="534"/>
                  </a:lnTo>
                  <a:lnTo>
                    <a:pt x="534" y="514"/>
                  </a:lnTo>
                  <a:lnTo>
                    <a:pt x="520" y="494"/>
                  </a:lnTo>
                  <a:lnTo>
                    <a:pt x="504" y="478"/>
                  </a:lnTo>
                  <a:lnTo>
                    <a:pt x="26" y="0"/>
                  </a:lnTo>
                  <a:lnTo>
                    <a:pt x="26" y="0"/>
                  </a:lnTo>
                  <a:lnTo>
                    <a:pt x="42" y="16"/>
                  </a:lnTo>
                  <a:lnTo>
                    <a:pt x="54" y="36"/>
                  </a:lnTo>
                  <a:lnTo>
                    <a:pt x="66" y="54"/>
                  </a:lnTo>
                  <a:lnTo>
                    <a:pt x="76" y="76"/>
                  </a:lnTo>
                  <a:lnTo>
                    <a:pt x="84" y="98"/>
                  </a:lnTo>
                  <a:lnTo>
                    <a:pt x="90" y="120"/>
                  </a:lnTo>
                  <a:lnTo>
                    <a:pt x="94" y="144"/>
                  </a:lnTo>
                  <a:lnTo>
                    <a:pt x="96" y="168"/>
                  </a:lnTo>
                  <a:lnTo>
                    <a:pt x="96" y="806"/>
                  </a:lnTo>
                  <a:lnTo>
                    <a:pt x="16" y="806"/>
                  </a:lnTo>
                  <a:lnTo>
                    <a:pt x="16" y="806"/>
                  </a:lnTo>
                  <a:lnTo>
                    <a:pt x="10" y="808"/>
                  </a:lnTo>
                  <a:lnTo>
                    <a:pt x="6" y="810"/>
                  </a:lnTo>
                  <a:lnTo>
                    <a:pt x="2" y="812"/>
                  </a:lnTo>
                  <a:lnTo>
                    <a:pt x="0" y="816"/>
                  </a:lnTo>
                  <a:lnTo>
                    <a:pt x="0" y="822"/>
                  </a:lnTo>
                  <a:lnTo>
                    <a:pt x="0" y="826"/>
                  </a:lnTo>
                  <a:lnTo>
                    <a:pt x="2" y="830"/>
                  </a:lnTo>
                  <a:lnTo>
                    <a:pt x="4" y="834"/>
                  </a:lnTo>
                  <a:lnTo>
                    <a:pt x="306" y="1138"/>
                  </a:lnTo>
                  <a:lnTo>
                    <a:pt x="306" y="1138"/>
                  </a:lnTo>
                  <a:lnTo>
                    <a:pt x="312" y="1142"/>
                  </a:lnTo>
                  <a:lnTo>
                    <a:pt x="320" y="1146"/>
                  </a:lnTo>
                  <a:lnTo>
                    <a:pt x="328" y="1148"/>
                  </a:lnTo>
                  <a:lnTo>
                    <a:pt x="334" y="1148"/>
                  </a:lnTo>
                  <a:lnTo>
                    <a:pt x="342" y="1148"/>
                  </a:lnTo>
                  <a:lnTo>
                    <a:pt x="350" y="1146"/>
                  </a:lnTo>
                  <a:lnTo>
                    <a:pt x="356" y="1142"/>
                  </a:lnTo>
                  <a:lnTo>
                    <a:pt x="362" y="1138"/>
                  </a:lnTo>
                  <a:lnTo>
                    <a:pt x="666" y="834"/>
                  </a:lnTo>
                  <a:lnTo>
                    <a:pt x="666" y="834"/>
                  </a:lnTo>
                  <a:lnTo>
                    <a:pt x="668" y="830"/>
                  </a:lnTo>
                  <a:lnTo>
                    <a:pt x="670" y="826"/>
                  </a:lnTo>
                  <a:lnTo>
                    <a:pt x="670" y="822"/>
                  </a:lnTo>
                  <a:lnTo>
                    <a:pt x="668" y="816"/>
                  </a:lnTo>
                  <a:lnTo>
                    <a:pt x="666" y="812"/>
                  </a:lnTo>
                  <a:lnTo>
                    <a:pt x="664" y="810"/>
                  </a:lnTo>
                  <a:lnTo>
                    <a:pt x="658" y="808"/>
                  </a:lnTo>
                  <a:lnTo>
                    <a:pt x="654" y="806"/>
                  </a:lnTo>
                  <a:lnTo>
                    <a:pt x="574" y="806"/>
                  </a:lnTo>
                  <a:close/>
                </a:path>
              </a:pathLst>
            </a:custGeom>
            <a:solidFill>
              <a:srgbClr val="008080"/>
            </a:solidFill>
            <a:ln>
              <a:noFill/>
            </a:ln>
          </p:spPr>
          <p:txBody>
            <a:bodyPr spcFirstLastPara="1" wrap="square" lIns="78175" tIns="39075" rIns="78175" bIns="390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FFFFFF"/>
                </a:solidFill>
                <a:latin typeface="Arial"/>
                <a:ea typeface="Arial"/>
                <a:cs typeface="Arial"/>
                <a:sym typeface="Arial"/>
              </a:endParaRPr>
            </a:p>
          </p:txBody>
        </p:sp>
        <p:sp>
          <p:nvSpPr>
            <p:cNvPr id="84" name="Google Shape;1789;p14">
              <a:extLst>
                <a:ext uri="{FF2B5EF4-FFF2-40B4-BE49-F238E27FC236}">
                  <a16:creationId xmlns:a16="http://schemas.microsoft.com/office/drawing/2014/main" id="{12383D33-C653-3B88-6533-ADFB76EC9A50}"/>
                </a:ext>
              </a:extLst>
            </p:cNvPr>
            <p:cNvSpPr/>
            <p:nvPr/>
          </p:nvSpPr>
          <p:spPr>
            <a:xfrm>
              <a:off x="2118219" y="3870672"/>
              <a:ext cx="1266122" cy="2169416"/>
            </a:xfrm>
            <a:custGeom>
              <a:avLst/>
              <a:gdLst/>
              <a:ahLst/>
              <a:cxnLst/>
              <a:rect l="l" t="t" r="r" b="b"/>
              <a:pathLst>
                <a:path w="670" h="1148" extrusionOk="0">
                  <a:moveTo>
                    <a:pt x="96" y="342"/>
                  </a:moveTo>
                  <a:lnTo>
                    <a:pt x="96" y="502"/>
                  </a:lnTo>
                  <a:lnTo>
                    <a:pt x="96" y="502"/>
                  </a:lnTo>
                  <a:lnTo>
                    <a:pt x="96" y="526"/>
                  </a:lnTo>
                  <a:lnTo>
                    <a:pt x="100" y="550"/>
                  </a:lnTo>
                  <a:lnTo>
                    <a:pt x="106" y="572"/>
                  </a:lnTo>
                  <a:lnTo>
                    <a:pt x="114" y="594"/>
                  </a:lnTo>
                  <a:lnTo>
                    <a:pt x="124" y="616"/>
                  </a:lnTo>
                  <a:lnTo>
                    <a:pt x="136" y="636"/>
                  </a:lnTo>
                  <a:lnTo>
                    <a:pt x="150" y="654"/>
                  </a:lnTo>
                  <a:lnTo>
                    <a:pt x="166" y="670"/>
                  </a:lnTo>
                  <a:lnTo>
                    <a:pt x="644" y="1148"/>
                  </a:lnTo>
                  <a:lnTo>
                    <a:pt x="644" y="1148"/>
                  </a:lnTo>
                  <a:lnTo>
                    <a:pt x="628" y="1132"/>
                  </a:lnTo>
                  <a:lnTo>
                    <a:pt x="614" y="1114"/>
                  </a:lnTo>
                  <a:lnTo>
                    <a:pt x="602" y="1094"/>
                  </a:lnTo>
                  <a:lnTo>
                    <a:pt x="592" y="1072"/>
                  </a:lnTo>
                  <a:lnTo>
                    <a:pt x="584" y="1050"/>
                  </a:lnTo>
                  <a:lnTo>
                    <a:pt x="578" y="1028"/>
                  </a:lnTo>
                  <a:lnTo>
                    <a:pt x="576" y="1004"/>
                  </a:lnTo>
                  <a:lnTo>
                    <a:pt x="574" y="980"/>
                  </a:lnTo>
                  <a:lnTo>
                    <a:pt x="574" y="342"/>
                  </a:lnTo>
                  <a:lnTo>
                    <a:pt x="654" y="342"/>
                  </a:lnTo>
                  <a:lnTo>
                    <a:pt x="654" y="342"/>
                  </a:lnTo>
                  <a:lnTo>
                    <a:pt x="658" y="342"/>
                  </a:lnTo>
                  <a:lnTo>
                    <a:pt x="664" y="338"/>
                  </a:lnTo>
                  <a:lnTo>
                    <a:pt x="666" y="336"/>
                  </a:lnTo>
                  <a:lnTo>
                    <a:pt x="668" y="332"/>
                  </a:lnTo>
                  <a:lnTo>
                    <a:pt x="670" y="328"/>
                  </a:lnTo>
                  <a:lnTo>
                    <a:pt x="670" y="322"/>
                  </a:lnTo>
                  <a:lnTo>
                    <a:pt x="668" y="318"/>
                  </a:lnTo>
                  <a:lnTo>
                    <a:pt x="666" y="314"/>
                  </a:lnTo>
                  <a:lnTo>
                    <a:pt x="362" y="12"/>
                  </a:lnTo>
                  <a:lnTo>
                    <a:pt x="362" y="12"/>
                  </a:lnTo>
                  <a:lnTo>
                    <a:pt x="356" y="6"/>
                  </a:lnTo>
                  <a:lnTo>
                    <a:pt x="350" y="2"/>
                  </a:lnTo>
                  <a:lnTo>
                    <a:pt x="342" y="0"/>
                  </a:lnTo>
                  <a:lnTo>
                    <a:pt x="334" y="0"/>
                  </a:lnTo>
                  <a:lnTo>
                    <a:pt x="328" y="0"/>
                  </a:lnTo>
                  <a:lnTo>
                    <a:pt x="320" y="2"/>
                  </a:lnTo>
                  <a:lnTo>
                    <a:pt x="312" y="6"/>
                  </a:lnTo>
                  <a:lnTo>
                    <a:pt x="306" y="12"/>
                  </a:lnTo>
                  <a:lnTo>
                    <a:pt x="4" y="314"/>
                  </a:lnTo>
                  <a:lnTo>
                    <a:pt x="4" y="314"/>
                  </a:lnTo>
                  <a:lnTo>
                    <a:pt x="2" y="318"/>
                  </a:lnTo>
                  <a:lnTo>
                    <a:pt x="0" y="322"/>
                  </a:lnTo>
                  <a:lnTo>
                    <a:pt x="0" y="328"/>
                  </a:lnTo>
                  <a:lnTo>
                    <a:pt x="0" y="332"/>
                  </a:lnTo>
                  <a:lnTo>
                    <a:pt x="2" y="336"/>
                  </a:lnTo>
                  <a:lnTo>
                    <a:pt x="6" y="338"/>
                  </a:lnTo>
                  <a:lnTo>
                    <a:pt x="10" y="342"/>
                  </a:lnTo>
                  <a:lnTo>
                    <a:pt x="16" y="342"/>
                  </a:lnTo>
                  <a:lnTo>
                    <a:pt x="96" y="342"/>
                  </a:lnTo>
                  <a:close/>
                </a:path>
              </a:pathLst>
            </a:custGeom>
            <a:solidFill>
              <a:srgbClr val="008080"/>
            </a:solidFill>
            <a:ln>
              <a:noFill/>
            </a:ln>
          </p:spPr>
          <p:txBody>
            <a:bodyPr spcFirstLastPara="1" wrap="square" lIns="78175" tIns="39075" rIns="78175" bIns="390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p:txBody>
        </p:sp>
        <p:sp>
          <p:nvSpPr>
            <p:cNvPr id="85" name="Google Shape;1790;p14">
              <a:extLst>
                <a:ext uri="{FF2B5EF4-FFF2-40B4-BE49-F238E27FC236}">
                  <a16:creationId xmlns:a16="http://schemas.microsoft.com/office/drawing/2014/main" id="{12D81C25-3177-AEDE-2E18-04318C42A502}"/>
                </a:ext>
              </a:extLst>
            </p:cNvPr>
            <p:cNvSpPr/>
            <p:nvPr/>
          </p:nvSpPr>
          <p:spPr>
            <a:xfrm>
              <a:off x="474151" y="3129894"/>
              <a:ext cx="2169417" cy="1266123"/>
            </a:xfrm>
            <a:custGeom>
              <a:avLst/>
              <a:gdLst/>
              <a:ahLst/>
              <a:cxnLst/>
              <a:rect l="l" t="t" r="r" b="b"/>
              <a:pathLst>
                <a:path w="1148" h="670" extrusionOk="0">
                  <a:moveTo>
                    <a:pt x="806" y="96"/>
                  </a:moveTo>
                  <a:lnTo>
                    <a:pt x="646" y="96"/>
                  </a:lnTo>
                  <a:lnTo>
                    <a:pt x="646" y="96"/>
                  </a:lnTo>
                  <a:lnTo>
                    <a:pt x="622" y="98"/>
                  </a:lnTo>
                  <a:lnTo>
                    <a:pt x="598" y="100"/>
                  </a:lnTo>
                  <a:lnTo>
                    <a:pt x="576" y="106"/>
                  </a:lnTo>
                  <a:lnTo>
                    <a:pt x="554" y="114"/>
                  </a:lnTo>
                  <a:lnTo>
                    <a:pt x="532" y="124"/>
                  </a:lnTo>
                  <a:lnTo>
                    <a:pt x="512" y="136"/>
                  </a:lnTo>
                  <a:lnTo>
                    <a:pt x="494" y="150"/>
                  </a:lnTo>
                  <a:lnTo>
                    <a:pt x="478" y="166"/>
                  </a:lnTo>
                  <a:lnTo>
                    <a:pt x="0" y="644"/>
                  </a:lnTo>
                  <a:lnTo>
                    <a:pt x="0" y="644"/>
                  </a:lnTo>
                  <a:lnTo>
                    <a:pt x="16" y="628"/>
                  </a:lnTo>
                  <a:lnTo>
                    <a:pt x="34" y="616"/>
                  </a:lnTo>
                  <a:lnTo>
                    <a:pt x="54" y="604"/>
                  </a:lnTo>
                  <a:lnTo>
                    <a:pt x="76" y="594"/>
                  </a:lnTo>
                  <a:lnTo>
                    <a:pt x="98" y="586"/>
                  </a:lnTo>
                  <a:lnTo>
                    <a:pt x="120" y="580"/>
                  </a:lnTo>
                  <a:lnTo>
                    <a:pt x="144" y="576"/>
                  </a:lnTo>
                  <a:lnTo>
                    <a:pt x="168" y="574"/>
                  </a:lnTo>
                  <a:lnTo>
                    <a:pt x="806" y="574"/>
                  </a:lnTo>
                  <a:lnTo>
                    <a:pt x="806" y="654"/>
                  </a:lnTo>
                  <a:lnTo>
                    <a:pt x="806" y="654"/>
                  </a:lnTo>
                  <a:lnTo>
                    <a:pt x="806" y="660"/>
                  </a:lnTo>
                  <a:lnTo>
                    <a:pt x="810" y="664"/>
                  </a:lnTo>
                  <a:lnTo>
                    <a:pt x="812" y="668"/>
                  </a:lnTo>
                  <a:lnTo>
                    <a:pt x="816" y="670"/>
                  </a:lnTo>
                  <a:lnTo>
                    <a:pt x="820" y="670"/>
                  </a:lnTo>
                  <a:lnTo>
                    <a:pt x="826" y="670"/>
                  </a:lnTo>
                  <a:lnTo>
                    <a:pt x="830" y="668"/>
                  </a:lnTo>
                  <a:lnTo>
                    <a:pt x="834" y="666"/>
                  </a:lnTo>
                  <a:lnTo>
                    <a:pt x="1136" y="364"/>
                  </a:lnTo>
                  <a:lnTo>
                    <a:pt x="1136" y="364"/>
                  </a:lnTo>
                  <a:lnTo>
                    <a:pt x="1142" y="358"/>
                  </a:lnTo>
                  <a:lnTo>
                    <a:pt x="1146" y="350"/>
                  </a:lnTo>
                  <a:lnTo>
                    <a:pt x="1148" y="342"/>
                  </a:lnTo>
                  <a:lnTo>
                    <a:pt x="1148" y="336"/>
                  </a:lnTo>
                  <a:lnTo>
                    <a:pt x="1148" y="328"/>
                  </a:lnTo>
                  <a:lnTo>
                    <a:pt x="1146" y="320"/>
                  </a:lnTo>
                  <a:lnTo>
                    <a:pt x="1142" y="314"/>
                  </a:lnTo>
                  <a:lnTo>
                    <a:pt x="1136" y="308"/>
                  </a:lnTo>
                  <a:lnTo>
                    <a:pt x="834" y="4"/>
                  </a:lnTo>
                  <a:lnTo>
                    <a:pt x="834" y="4"/>
                  </a:lnTo>
                  <a:lnTo>
                    <a:pt x="830" y="2"/>
                  </a:lnTo>
                  <a:lnTo>
                    <a:pt x="826" y="0"/>
                  </a:lnTo>
                  <a:lnTo>
                    <a:pt x="820" y="0"/>
                  </a:lnTo>
                  <a:lnTo>
                    <a:pt x="816" y="2"/>
                  </a:lnTo>
                  <a:lnTo>
                    <a:pt x="812" y="4"/>
                  </a:lnTo>
                  <a:lnTo>
                    <a:pt x="810" y="6"/>
                  </a:lnTo>
                  <a:lnTo>
                    <a:pt x="806" y="12"/>
                  </a:lnTo>
                  <a:lnTo>
                    <a:pt x="806" y="16"/>
                  </a:lnTo>
                  <a:lnTo>
                    <a:pt x="806" y="96"/>
                  </a:lnTo>
                  <a:close/>
                </a:path>
              </a:pathLst>
            </a:custGeom>
            <a:solidFill>
              <a:srgbClr val="008080"/>
            </a:solidFill>
            <a:ln>
              <a:noFill/>
            </a:ln>
          </p:spPr>
          <p:txBody>
            <a:bodyPr spcFirstLastPara="1" wrap="square" lIns="78175" tIns="39075" rIns="78175" bIns="390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p:txBody>
        </p:sp>
        <p:sp>
          <p:nvSpPr>
            <p:cNvPr id="86" name="Google Shape;1791;p14">
              <a:extLst>
                <a:ext uri="{FF2B5EF4-FFF2-40B4-BE49-F238E27FC236}">
                  <a16:creationId xmlns:a16="http://schemas.microsoft.com/office/drawing/2014/main" id="{0D9BA83C-43E2-07E3-1BB3-0B46088E95F9}"/>
                </a:ext>
              </a:extLst>
            </p:cNvPr>
            <p:cNvSpPr/>
            <p:nvPr/>
          </p:nvSpPr>
          <p:spPr>
            <a:xfrm>
              <a:off x="2858996" y="3129894"/>
              <a:ext cx="2169417" cy="1266123"/>
            </a:xfrm>
            <a:custGeom>
              <a:avLst/>
              <a:gdLst/>
              <a:ahLst/>
              <a:cxnLst/>
              <a:rect l="l" t="t" r="r" b="b"/>
              <a:pathLst>
                <a:path w="1148" h="670" extrusionOk="0">
                  <a:moveTo>
                    <a:pt x="342" y="574"/>
                  </a:moveTo>
                  <a:lnTo>
                    <a:pt x="500" y="574"/>
                  </a:lnTo>
                  <a:lnTo>
                    <a:pt x="500" y="574"/>
                  </a:lnTo>
                  <a:lnTo>
                    <a:pt x="526" y="574"/>
                  </a:lnTo>
                  <a:lnTo>
                    <a:pt x="550" y="570"/>
                  </a:lnTo>
                  <a:lnTo>
                    <a:pt x="572" y="564"/>
                  </a:lnTo>
                  <a:lnTo>
                    <a:pt x="594" y="556"/>
                  </a:lnTo>
                  <a:lnTo>
                    <a:pt x="614" y="546"/>
                  </a:lnTo>
                  <a:lnTo>
                    <a:pt x="634" y="534"/>
                  </a:lnTo>
                  <a:lnTo>
                    <a:pt x="654" y="520"/>
                  </a:lnTo>
                  <a:lnTo>
                    <a:pt x="670" y="504"/>
                  </a:lnTo>
                  <a:lnTo>
                    <a:pt x="1148" y="26"/>
                  </a:lnTo>
                  <a:lnTo>
                    <a:pt x="1148" y="26"/>
                  </a:lnTo>
                  <a:lnTo>
                    <a:pt x="1132" y="42"/>
                  </a:lnTo>
                  <a:lnTo>
                    <a:pt x="1112" y="56"/>
                  </a:lnTo>
                  <a:lnTo>
                    <a:pt x="1094" y="68"/>
                  </a:lnTo>
                  <a:lnTo>
                    <a:pt x="1072" y="78"/>
                  </a:lnTo>
                  <a:lnTo>
                    <a:pt x="1050" y="86"/>
                  </a:lnTo>
                  <a:lnTo>
                    <a:pt x="1028" y="92"/>
                  </a:lnTo>
                  <a:lnTo>
                    <a:pt x="1004" y="94"/>
                  </a:lnTo>
                  <a:lnTo>
                    <a:pt x="980" y="96"/>
                  </a:lnTo>
                  <a:lnTo>
                    <a:pt x="342" y="96"/>
                  </a:lnTo>
                  <a:lnTo>
                    <a:pt x="342" y="16"/>
                  </a:lnTo>
                  <a:lnTo>
                    <a:pt x="342" y="16"/>
                  </a:lnTo>
                  <a:lnTo>
                    <a:pt x="340" y="12"/>
                  </a:lnTo>
                  <a:lnTo>
                    <a:pt x="338" y="6"/>
                  </a:lnTo>
                  <a:lnTo>
                    <a:pt x="336" y="4"/>
                  </a:lnTo>
                  <a:lnTo>
                    <a:pt x="332" y="2"/>
                  </a:lnTo>
                  <a:lnTo>
                    <a:pt x="326" y="0"/>
                  </a:lnTo>
                  <a:lnTo>
                    <a:pt x="322" y="0"/>
                  </a:lnTo>
                  <a:lnTo>
                    <a:pt x="318" y="2"/>
                  </a:lnTo>
                  <a:lnTo>
                    <a:pt x="314" y="4"/>
                  </a:lnTo>
                  <a:lnTo>
                    <a:pt x="10" y="308"/>
                  </a:lnTo>
                  <a:lnTo>
                    <a:pt x="10" y="308"/>
                  </a:lnTo>
                  <a:lnTo>
                    <a:pt x="6" y="314"/>
                  </a:lnTo>
                  <a:lnTo>
                    <a:pt x="2" y="320"/>
                  </a:lnTo>
                  <a:lnTo>
                    <a:pt x="0" y="328"/>
                  </a:lnTo>
                  <a:lnTo>
                    <a:pt x="0" y="336"/>
                  </a:lnTo>
                  <a:lnTo>
                    <a:pt x="0" y="342"/>
                  </a:lnTo>
                  <a:lnTo>
                    <a:pt x="2" y="350"/>
                  </a:lnTo>
                  <a:lnTo>
                    <a:pt x="6" y="358"/>
                  </a:lnTo>
                  <a:lnTo>
                    <a:pt x="10" y="364"/>
                  </a:lnTo>
                  <a:lnTo>
                    <a:pt x="314" y="666"/>
                  </a:lnTo>
                  <a:lnTo>
                    <a:pt x="314" y="666"/>
                  </a:lnTo>
                  <a:lnTo>
                    <a:pt x="318" y="668"/>
                  </a:lnTo>
                  <a:lnTo>
                    <a:pt x="322" y="670"/>
                  </a:lnTo>
                  <a:lnTo>
                    <a:pt x="326" y="670"/>
                  </a:lnTo>
                  <a:lnTo>
                    <a:pt x="332" y="670"/>
                  </a:lnTo>
                  <a:lnTo>
                    <a:pt x="336" y="668"/>
                  </a:lnTo>
                  <a:lnTo>
                    <a:pt x="338" y="664"/>
                  </a:lnTo>
                  <a:lnTo>
                    <a:pt x="340" y="660"/>
                  </a:lnTo>
                  <a:lnTo>
                    <a:pt x="342" y="654"/>
                  </a:lnTo>
                  <a:lnTo>
                    <a:pt x="342" y="574"/>
                  </a:lnTo>
                  <a:close/>
                </a:path>
              </a:pathLst>
            </a:custGeom>
            <a:solidFill>
              <a:srgbClr val="008080"/>
            </a:solidFill>
            <a:ln>
              <a:noFill/>
            </a:ln>
          </p:spPr>
          <p:txBody>
            <a:bodyPr spcFirstLastPara="1" wrap="square" lIns="78175" tIns="39075" rIns="78175" bIns="390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p:txBody>
        </p:sp>
        <p:sp>
          <p:nvSpPr>
            <p:cNvPr id="87" name="Google Shape;1792;p14">
              <a:extLst>
                <a:ext uri="{FF2B5EF4-FFF2-40B4-BE49-F238E27FC236}">
                  <a16:creationId xmlns:a16="http://schemas.microsoft.com/office/drawing/2014/main" id="{43F1CCBD-2C7F-6443-0E63-F4B7D5D78157}"/>
                </a:ext>
              </a:extLst>
            </p:cNvPr>
            <p:cNvSpPr/>
            <p:nvPr/>
          </p:nvSpPr>
          <p:spPr>
            <a:xfrm>
              <a:off x="2672049" y="3020446"/>
              <a:ext cx="170498" cy="36712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FFFFFF"/>
                  </a:solidFill>
                  <a:latin typeface="Arial"/>
                  <a:ea typeface="Arial"/>
                  <a:cs typeface="Arial"/>
                  <a:sym typeface="Arial"/>
                </a:rPr>
                <a:t>1</a:t>
              </a:r>
              <a:endParaRPr lang="en-US" sz="2400" b="1" i="0" u="none" strike="noStrike" cap="none">
                <a:solidFill>
                  <a:srgbClr val="FFFFFF"/>
                </a:solidFill>
                <a:latin typeface="Arial"/>
                <a:ea typeface="Arial"/>
                <a:cs typeface="Arial"/>
              </a:endParaRPr>
            </a:p>
          </p:txBody>
        </p:sp>
        <p:sp>
          <p:nvSpPr>
            <p:cNvPr id="88" name="Google Shape;1793;p14">
              <a:extLst>
                <a:ext uri="{FF2B5EF4-FFF2-40B4-BE49-F238E27FC236}">
                  <a16:creationId xmlns:a16="http://schemas.microsoft.com/office/drawing/2014/main" id="{BD102448-C841-CFC8-D920-C59B1EF2BB20}"/>
                </a:ext>
              </a:extLst>
            </p:cNvPr>
            <p:cNvSpPr/>
            <p:nvPr/>
          </p:nvSpPr>
          <p:spPr>
            <a:xfrm>
              <a:off x="3159484" y="3542013"/>
              <a:ext cx="170499" cy="36712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GB" sz="2400" b="1">
                  <a:solidFill>
                    <a:srgbClr val="FFFFFF"/>
                  </a:solidFill>
                  <a:latin typeface="Arial"/>
                  <a:ea typeface="Arial"/>
                  <a:cs typeface="Arial"/>
                  <a:sym typeface="Arial"/>
                </a:rPr>
                <a:t>2</a:t>
              </a:r>
              <a:endParaRPr sz="2400" b="0" i="0" u="none" strike="noStrike" cap="none">
                <a:solidFill>
                  <a:schemeClr val="dk1"/>
                </a:solidFill>
                <a:latin typeface="Arial"/>
                <a:ea typeface="Arial"/>
                <a:cs typeface="Arial"/>
                <a:sym typeface="Arial"/>
              </a:endParaRPr>
            </a:p>
          </p:txBody>
        </p:sp>
        <p:sp>
          <p:nvSpPr>
            <p:cNvPr id="89" name="Google Shape;1794;p14">
              <a:extLst>
                <a:ext uri="{FF2B5EF4-FFF2-40B4-BE49-F238E27FC236}">
                  <a16:creationId xmlns:a16="http://schemas.microsoft.com/office/drawing/2014/main" id="{F580FAD2-2BD9-93CF-CC1B-ADC218A6702C}"/>
                </a:ext>
              </a:extLst>
            </p:cNvPr>
            <p:cNvSpPr/>
            <p:nvPr/>
          </p:nvSpPr>
          <p:spPr>
            <a:xfrm>
              <a:off x="2660710" y="4086257"/>
              <a:ext cx="170499" cy="36712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GB" sz="2400" b="1">
                  <a:solidFill>
                    <a:srgbClr val="FFFFFF"/>
                  </a:solidFill>
                  <a:latin typeface="Arial"/>
                  <a:ea typeface="Arial"/>
                  <a:cs typeface="Arial"/>
                  <a:sym typeface="Arial"/>
                </a:rPr>
                <a:t>3</a:t>
              </a:r>
              <a:endParaRPr sz="2400" b="0" i="0" u="none" strike="noStrike" cap="none">
                <a:solidFill>
                  <a:schemeClr val="dk1"/>
                </a:solidFill>
                <a:latin typeface="Arial"/>
                <a:ea typeface="Arial"/>
                <a:cs typeface="Arial"/>
                <a:sym typeface="Arial"/>
              </a:endParaRPr>
            </a:p>
          </p:txBody>
        </p:sp>
        <p:sp>
          <p:nvSpPr>
            <p:cNvPr id="90" name="Google Shape;1795;p14">
              <a:extLst>
                <a:ext uri="{FF2B5EF4-FFF2-40B4-BE49-F238E27FC236}">
                  <a16:creationId xmlns:a16="http://schemas.microsoft.com/office/drawing/2014/main" id="{F419414A-A3C1-7D0A-7795-FF474F21E168}"/>
                </a:ext>
              </a:extLst>
            </p:cNvPr>
            <p:cNvSpPr/>
            <p:nvPr/>
          </p:nvSpPr>
          <p:spPr>
            <a:xfrm>
              <a:off x="2176938" y="3579808"/>
              <a:ext cx="170499" cy="36712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FFFFFF"/>
                  </a:solidFill>
                  <a:latin typeface="Arial"/>
                  <a:ea typeface="Arial"/>
                  <a:cs typeface="Arial"/>
                  <a:sym typeface="Arial"/>
                </a:rPr>
                <a:t>4</a:t>
              </a:r>
              <a:endParaRPr lang="en-US" sz="2400" b="1" i="0" u="none" strike="noStrike" cap="none">
                <a:solidFill>
                  <a:srgbClr val="FFFFFF"/>
                </a:solidFill>
                <a:latin typeface="Arial"/>
                <a:ea typeface="Arial"/>
                <a:cs typeface="Arial"/>
              </a:endParaRPr>
            </a:p>
          </p:txBody>
        </p:sp>
        <p:sp>
          <p:nvSpPr>
            <p:cNvPr id="91" name="Google Shape;1796;p14">
              <a:extLst>
                <a:ext uri="{FF2B5EF4-FFF2-40B4-BE49-F238E27FC236}">
                  <a16:creationId xmlns:a16="http://schemas.microsoft.com/office/drawing/2014/main" id="{1380B832-1A2C-A479-72DB-97164900A86A}"/>
                </a:ext>
              </a:extLst>
            </p:cNvPr>
            <p:cNvSpPr txBox="1"/>
            <p:nvPr/>
          </p:nvSpPr>
          <p:spPr>
            <a:xfrm>
              <a:off x="551343" y="1625790"/>
              <a:ext cx="1613638" cy="108470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dk1"/>
                  </a:solidFill>
                  <a:latin typeface="Arial"/>
                  <a:ea typeface="Arial"/>
                  <a:cs typeface="Arial"/>
                  <a:sym typeface="Arial"/>
                </a:rPr>
                <a:t>Stakeholder Engagement</a:t>
              </a:r>
              <a:endParaRPr sz="1400" b="0" i="0" u="none" strike="noStrike" cap="none">
                <a:solidFill>
                  <a:srgbClr val="000000"/>
                </a:solidFill>
                <a:latin typeface="Arial"/>
                <a:ea typeface="Arial"/>
                <a:cs typeface="Arial"/>
                <a:sym typeface="Arial"/>
              </a:endParaRPr>
            </a:p>
          </p:txBody>
        </p:sp>
        <p:sp>
          <p:nvSpPr>
            <p:cNvPr id="92" name="Google Shape;1797;p14">
              <a:extLst>
                <a:ext uri="{FF2B5EF4-FFF2-40B4-BE49-F238E27FC236}">
                  <a16:creationId xmlns:a16="http://schemas.microsoft.com/office/drawing/2014/main" id="{D158CFEC-64E0-B0E2-DD48-8BA559A1BD77}"/>
                </a:ext>
              </a:extLst>
            </p:cNvPr>
            <p:cNvSpPr txBox="1"/>
            <p:nvPr/>
          </p:nvSpPr>
          <p:spPr>
            <a:xfrm>
              <a:off x="3249843" y="1555178"/>
              <a:ext cx="1748021" cy="108470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GB" sz="1200">
                  <a:solidFill>
                    <a:schemeClr val="dk1"/>
                  </a:solidFill>
                  <a:latin typeface="Arial"/>
                  <a:ea typeface="Arial"/>
                  <a:cs typeface="Arial"/>
                  <a:sym typeface="Arial"/>
                </a:rPr>
                <a:t>Grievance Mechanism Framework</a:t>
              </a:r>
              <a:endParaRPr sz="1400" b="0" i="0" u="none" strike="noStrike" cap="none">
                <a:solidFill>
                  <a:srgbClr val="000000"/>
                </a:solidFill>
                <a:latin typeface="Arial"/>
                <a:ea typeface="Arial"/>
                <a:cs typeface="Arial"/>
                <a:sym typeface="Arial"/>
              </a:endParaRPr>
            </a:p>
          </p:txBody>
        </p:sp>
        <p:sp>
          <p:nvSpPr>
            <p:cNvPr id="93" name="Google Shape;1798;p14">
              <a:extLst>
                <a:ext uri="{FF2B5EF4-FFF2-40B4-BE49-F238E27FC236}">
                  <a16:creationId xmlns:a16="http://schemas.microsoft.com/office/drawing/2014/main" id="{BE376F80-784E-CC6F-4DBA-D2245F89A9B8}"/>
                </a:ext>
              </a:extLst>
            </p:cNvPr>
            <p:cNvSpPr txBox="1"/>
            <p:nvPr/>
          </p:nvSpPr>
          <p:spPr>
            <a:xfrm>
              <a:off x="572066" y="5315121"/>
              <a:ext cx="1613638" cy="679543"/>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GB" sz="1200">
                  <a:solidFill>
                    <a:schemeClr val="dk1"/>
                  </a:solidFill>
                  <a:latin typeface="Arial"/>
                  <a:ea typeface="Arial"/>
                  <a:cs typeface="Arial"/>
                  <a:sym typeface="Arial"/>
                </a:rPr>
                <a:t>Community Office</a:t>
              </a:r>
              <a:endParaRPr sz="1400" b="0" i="0" u="none" strike="noStrike" cap="none">
                <a:solidFill>
                  <a:srgbClr val="000000"/>
                </a:solidFill>
                <a:latin typeface="Arial"/>
                <a:ea typeface="Arial"/>
                <a:cs typeface="Arial"/>
                <a:sym typeface="Arial"/>
              </a:endParaRPr>
            </a:p>
          </p:txBody>
        </p:sp>
        <p:sp>
          <p:nvSpPr>
            <p:cNvPr id="94" name="Google Shape;1799;p14">
              <a:extLst>
                <a:ext uri="{FF2B5EF4-FFF2-40B4-BE49-F238E27FC236}">
                  <a16:creationId xmlns:a16="http://schemas.microsoft.com/office/drawing/2014/main" id="{9718887F-38C1-3D6D-0D2E-B8B3FE1A206A}"/>
                </a:ext>
              </a:extLst>
            </p:cNvPr>
            <p:cNvSpPr txBox="1"/>
            <p:nvPr/>
          </p:nvSpPr>
          <p:spPr>
            <a:xfrm>
              <a:off x="3368952" y="5134503"/>
              <a:ext cx="1613638" cy="827324"/>
            </a:xfrm>
            <a:prstGeom prst="rect">
              <a:avLst/>
            </a:prstGeom>
            <a:noFill/>
            <a:ln>
              <a:noFill/>
            </a:ln>
          </p:spPr>
          <p:txBody>
            <a:bodyPr spcFirstLastPara="1" wrap="square" lIns="0" tIns="0" rIns="0" bIns="0" anchor="t" anchorCtr="0">
              <a:noAutofit/>
            </a:bodyPr>
            <a:lstStyle>
              <a:defPPr>
                <a:defRPr lang="el-GR"/>
              </a:defPPr>
              <a:lvl1pPr marR="0" lvl="0" indent="0">
                <a:lnSpc>
                  <a:spcPct val="100000"/>
                </a:lnSpc>
                <a:spcBef>
                  <a:spcPts val="0"/>
                </a:spcBef>
                <a:spcAft>
                  <a:spcPts val="0"/>
                </a:spcAft>
                <a:buClr>
                  <a:srgbClr val="000000"/>
                </a:buClr>
                <a:buSzPts val="1200"/>
                <a:buFont typeface="Arial"/>
                <a:buNone/>
                <a:defRPr sz="1200">
                  <a:solidFill>
                    <a:schemeClr val="dk1"/>
                  </a:solidFill>
                  <a:latin typeface="Arial"/>
                  <a:ea typeface="Arial"/>
                  <a:cs typeface="Arial"/>
                </a:defRPr>
              </a:lvl1pPr>
            </a:lstStyle>
            <a:p>
              <a:r>
                <a:rPr lang="en-US">
                  <a:sym typeface="Arial"/>
                </a:rPr>
                <a:t>Community of Interest Committee (CiC)</a:t>
              </a:r>
              <a:endParaRPr>
                <a:sym typeface="Arial"/>
              </a:endParaRPr>
            </a:p>
          </p:txBody>
        </p:sp>
      </p:grpSp>
      <p:sp>
        <p:nvSpPr>
          <p:cNvPr id="6" name="Title 5">
            <a:extLst>
              <a:ext uri="{FF2B5EF4-FFF2-40B4-BE49-F238E27FC236}">
                <a16:creationId xmlns:a16="http://schemas.microsoft.com/office/drawing/2014/main" id="{8D9BF6DF-4ADB-4950-BDCB-936F91049F0F}"/>
              </a:ext>
            </a:extLst>
          </p:cNvPr>
          <p:cNvSpPr>
            <a:spLocks noGrp="1"/>
          </p:cNvSpPr>
          <p:nvPr>
            <p:ph type="title"/>
          </p:nvPr>
        </p:nvSpPr>
        <p:spPr>
          <a:xfrm>
            <a:off x="499033" y="340560"/>
            <a:ext cx="11193934" cy="431600"/>
          </a:xfr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pPr>
              <a:lnSpc>
                <a:spcPct val="100000"/>
              </a:lnSpc>
              <a:spcBef>
                <a:spcPct val="20000"/>
              </a:spcBef>
            </a:pPr>
            <a:r>
              <a:rPr lang="en-US">
                <a:solidFill>
                  <a:schemeClr val="tx2"/>
                </a:solidFill>
                <a:latin typeface="Calibri Light" panose="020F0302020204030204" pitchFamily="34" charset="0"/>
                <a:ea typeface="+mj-ea"/>
                <a:cs typeface="Calibri Light" panose="020F0302020204030204" pitchFamily="34" charset="0"/>
              </a:rPr>
              <a:t>Stakeholder Engagement Strategies</a:t>
            </a:r>
            <a:endParaRPr lang="el-GR">
              <a:solidFill>
                <a:schemeClr val="tx2"/>
              </a:solidFill>
              <a:latin typeface="Calibri Light" panose="020F0302020204030204" pitchFamily="34" charset="0"/>
              <a:ea typeface="+mj-ea"/>
              <a:cs typeface="Calibri Light" panose="020F0302020204030204" pitchFamily="34" charset="0"/>
            </a:endParaRPr>
          </a:p>
        </p:txBody>
      </p:sp>
      <p:sp>
        <p:nvSpPr>
          <p:cNvPr id="7" name="Slide Number Placeholder 6">
            <a:extLst>
              <a:ext uri="{FF2B5EF4-FFF2-40B4-BE49-F238E27FC236}">
                <a16:creationId xmlns:a16="http://schemas.microsoft.com/office/drawing/2014/main" id="{E0B49DF4-BCF6-4D98-A6B6-B05E0AD0A89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4</a:t>
            </a:fld>
            <a:endParaRPr lang="en-GB"/>
          </a:p>
        </p:txBody>
      </p:sp>
      <p:sp>
        <p:nvSpPr>
          <p:cNvPr id="95" name="Google Shape;296;p41">
            <a:extLst>
              <a:ext uri="{FF2B5EF4-FFF2-40B4-BE49-F238E27FC236}">
                <a16:creationId xmlns:a16="http://schemas.microsoft.com/office/drawing/2014/main" id="{35B1B7C3-6977-6761-F55C-A322E19CF6EA}"/>
              </a:ext>
            </a:extLst>
          </p:cNvPr>
          <p:cNvSpPr/>
          <p:nvPr/>
        </p:nvSpPr>
        <p:spPr>
          <a:xfrm>
            <a:off x="5380827" y="1017941"/>
            <a:ext cx="6500024" cy="4480288"/>
          </a:xfrm>
          <a:prstGeom prst="rect">
            <a:avLst/>
          </a:prstGeom>
          <a:solidFill>
            <a:schemeClr val="bg1"/>
          </a:solidFill>
          <a:ln w="12700" cap="flat" cmpd="sng">
            <a:solidFill>
              <a:schemeClr val="bg1">
                <a:lumMod val="95000"/>
              </a:schemeClr>
            </a:solidFill>
            <a:prstDash val="solid"/>
            <a:miter lim="800000"/>
            <a:headEnd type="none" w="sm" len="sm"/>
            <a:tailEnd type="none" w="sm" len="sm"/>
          </a:ln>
          <a:effectLst>
            <a:outerShdw blurRad="50800" dist="38100" algn="l" rotWithShape="0">
              <a:prstClr val="black">
                <a:alpha val="40000"/>
              </a:prstClr>
            </a:outerShdw>
          </a:effectLst>
        </p:spPr>
        <p:txBody>
          <a:bodyPr spcFirstLastPara="1" wrap="square" lIns="756000" tIns="36000" rIns="72000" bIns="36000" anchor="t" anchorCtr="0">
            <a:noAutofit/>
          </a:bodyPr>
          <a:lstStyle/>
          <a:p>
            <a:endParaRPr lang="en-GB" sz="1200" b="1" i="0" u="none" strike="noStrike" cap="none">
              <a:solidFill>
                <a:schemeClr val="accent3">
                  <a:lumMod val="75000"/>
                </a:schemeClr>
              </a:solidFill>
              <a:latin typeface="Arial"/>
              <a:ea typeface="Arial"/>
              <a:cs typeface="Arial"/>
              <a:sym typeface="Arial"/>
            </a:endParaRPr>
          </a:p>
          <a:p>
            <a:r>
              <a:rPr lang="en-GB" sz="1200" b="1" i="0" u="none" strike="noStrike" cap="none">
                <a:solidFill>
                  <a:srgbClr val="008080"/>
                </a:solidFill>
                <a:latin typeface="Arial"/>
                <a:ea typeface="Arial"/>
                <a:cs typeface="Arial"/>
                <a:sym typeface="Arial"/>
              </a:rPr>
              <a:t>Stakeholder Engagement</a:t>
            </a:r>
            <a:endParaRPr lang="en-GB" sz="1200" b="1" i="0" u="none" strike="noStrike" cap="none">
              <a:solidFill>
                <a:srgbClr val="008080"/>
              </a:solidFill>
              <a:latin typeface="Arial"/>
              <a:ea typeface="Arial"/>
              <a:cs typeface="Arial"/>
            </a:endParaRPr>
          </a:p>
          <a:p>
            <a:r>
              <a:rPr lang="en-GB" sz="1200">
                <a:solidFill>
                  <a:schemeClr val="dk1"/>
                </a:solidFill>
                <a:latin typeface="Arial"/>
                <a:ea typeface="Arial"/>
                <a:cs typeface="Arial"/>
                <a:sym typeface="Arial"/>
              </a:rPr>
              <a:t>Identifying and </a:t>
            </a:r>
            <a:r>
              <a:rPr lang="en-GB" sz="1200" err="1">
                <a:solidFill>
                  <a:schemeClr val="dk1"/>
                </a:solidFill>
                <a:latin typeface="Arial"/>
                <a:ea typeface="Arial"/>
                <a:cs typeface="Arial"/>
                <a:sym typeface="Arial"/>
              </a:rPr>
              <a:t>analyzing</a:t>
            </a:r>
            <a:r>
              <a:rPr lang="en-GB" sz="1200">
                <a:solidFill>
                  <a:schemeClr val="dk1"/>
                </a:solidFill>
                <a:latin typeface="Arial"/>
                <a:ea typeface="Arial"/>
                <a:cs typeface="Arial"/>
                <a:sym typeface="Arial"/>
              </a:rPr>
              <a:t> all our stakeholders </a:t>
            </a:r>
            <a:r>
              <a:rPr lang="en-US" sz="1200">
                <a:solidFill>
                  <a:schemeClr val="dk1"/>
                </a:solidFill>
                <a:latin typeface="Arial"/>
                <a:ea typeface="Arial"/>
                <a:cs typeface="Arial"/>
                <a:sym typeface="Arial"/>
              </a:rPr>
              <a:t>helps us evaluate their needs, interests,</a:t>
            </a:r>
            <a:r>
              <a:rPr lang="en-GB" sz="1200" b="1">
                <a:solidFill>
                  <a:schemeClr val="dk1"/>
                </a:solidFill>
                <a:latin typeface="Arial"/>
                <a:ea typeface="Arial"/>
                <a:cs typeface="Arial"/>
                <a:sym typeface="Arial"/>
              </a:rPr>
              <a:t> and concerns</a:t>
            </a:r>
            <a:r>
              <a:rPr lang="en-GB" sz="1200">
                <a:solidFill>
                  <a:schemeClr val="dk1"/>
                </a:solidFill>
                <a:latin typeface="Arial"/>
                <a:ea typeface="Arial"/>
                <a:cs typeface="Arial"/>
                <a:sym typeface="Arial"/>
              </a:rPr>
              <a:t>.</a:t>
            </a:r>
            <a:endParaRPr lang="en-GB" sz="1200">
              <a:solidFill>
                <a:schemeClr val="dk1"/>
              </a:solidFill>
              <a:latin typeface="Arial"/>
              <a:ea typeface="Arial"/>
              <a:cs typeface="Arial"/>
            </a:endParaRPr>
          </a:p>
          <a:p>
            <a:pPr>
              <a:spcBef>
                <a:spcPts val="600"/>
              </a:spcBef>
            </a:pPr>
            <a:endParaRPr lang="en-GB" sz="1200">
              <a:solidFill>
                <a:schemeClr val="dk1"/>
              </a:solidFill>
              <a:latin typeface="Arial"/>
              <a:ea typeface="Arial"/>
              <a:cs typeface="Arial"/>
              <a:sym typeface="Arial"/>
            </a:endParaRPr>
          </a:p>
          <a:p>
            <a:endParaRPr lang="en-GB" sz="1200" b="1">
              <a:solidFill>
                <a:srgbClr val="008080"/>
              </a:solidFill>
              <a:latin typeface="Arial"/>
              <a:cs typeface="Arial"/>
              <a:sym typeface="Arial"/>
            </a:endParaRPr>
          </a:p>
          <a:p>
            <a:r>
              <a:rPr lang="en-GB" sz="1200" b="1">
                <a:solidFill>
                  <a:srgbClr val="008080"/>
                </a:solidFill>
                <a:latin typeface="Arial"/>
                <a:cs typeface="Arial"/>
                <a:sym typeface="Arial"/>
              </a:rPr>
              <a:t>Grievance Mechanism Framework</a:t>
            </a:r>
            <a:endParaRPr lang="en-GB" sz="1200" b="1">
              <a:solidFill>
                <a:srgbClr val="008080"/>
              </a:solidFill>
              <a:latin typeface="Arial"/>
              <a:cs typeface="Arial"/>
            </a:endParaRPr>
          </a:p>
          <a:p>
            <a:r>
              <a:rPr lang="en-GB" sz="1200">
                <a:solidFill>
                  <a:srgbClr val="333333"/>
                </a:solidFill>
                <a:latin typeface="Arial"/>
                <a:ea typeface="Tahoma"/>
                <a:cs typeface="Arial"/>
              </a:rPr>
              <a:t>A mechanism through which our stakeholders can confidentially </a:t>
            </a:r>
            <a:r>
              <a:rPr lang="en-GB" sz="1200" b="1">
                <a:solidFill>
                  <a:srgbClr val="333333"/>
                </a:solidFill>
                <a:latin typeface="Arial"/>
                <a:ea typeface="Tahoma"/>
                <a:cs typeface="Arial"/>
              </a:rPr>
              <a:t>submit any concerns</a:t>
            </a:r>
            <a:r>
              <a:rPr lang="en-GB" sz="1200">
                <a:solidFill>
                  <a:srgbClr val="333333"/>
                </a:solidFill>
                <a:latin typeface="Arial"/>
                <a:ea typeface="Tahoma"/>
                <a:cs typeface="Arial"/>
              </a:rPr>
              <a:t> they may have regarding our activity (channels: interactive online form, by email/post, dedicated telephone line, complaint boxes at our facilities).</a:t>
            </a:r>
          </a:p>
          <a:p>
            <a:endParaRPr lang="en-GB" sz="1200">
              <a:solidFill>
                <a:schemeClr val="accent2"/>
              </a:solidFill>
              <a:latin typeface="Arial"/>
              <a:cs typeface="Arial"/>
              <a:sym typeface="Arial"/>
            </a:endParaRPr>
          </a:p>
          <a:p>
            <a:endParaRPr lang="en-US" sz="1200" b="1">
              <a:solidFill>
                <a:srgbClr val="008080"/>
              </a:solidFill>
              <a:latin typeface="Arial"/>
              <a:cs typeface="Arial"/>
              <a:sym typeface="Arial"/>
            </a:endParaRPr>
          </a:p>
          <a:p>
            <a:r>
              <a:rPr lang="en-US" sz="1200" b="1">
                <a:solidFill>
                  <a:srgbClr val="008080"/>
                </a:solidFill>
                <a:latin typeface="Arial"/>
                <a:cs typeface="Arial"/>
                <a:sym typeface="Arial"/>
              </a:rPr>
              <a:t>Community of Interest Committee (</a:t>
            </a:r>
            <a:r>
              <a:rPr lang="en-US" sz="1200" b="1" err="1">
                <a:solidFill>
                  <a:srgbClr val="008080"/>
                </a:solidFill>
                <a:latin typeface="Arial"/>
                <a:cs typeface="Arial"/>
                <a:sym typeface="Arial"/>
              </a:rPr>
              <a:t>CiC</a:t>
            </a:r>
            <a:r>
              <a:rPr lang="en-US" sz="1200" b="1">
                <a:solidFill>
                  <a:srgbClr val="008080"/>
                </a:solidFill>
                <a:latin typeface="Arial"/>
                <a:cs typeface="Arial"/>
                <a:sym typeface="Arial"/>
              </a:rPr>
              <a:t>)</a:t>
            </a:r>
            <a:endParaRPr lang="en-US" sz="1200" b="1">
              <a:solidFill>
                <a:srgbClr val="008080"/>
              </a:solidFill>
              <a:latin typeface="Arial"/>
              <a:cs typeface="Arial"/>
            </a:endParaRPr>
          </a:p>
          <a:p>
            <a:r>
              <a:rPr lang="en-US" sz="1200">
                <a:solidFill>
                  <a:schemeClr val="dk1"/>
                </a:solidFill>
                <a:latin typeface="Arial"/>
                <a:cs typeface="Arial"/>
              </a:rPr>
              <a:t>A </a:t>
            </a:r>
            <a:r>
              <a:rPr lang="en-US" sz="1200" b="1">
                <a:solidFill>
                  <a:schemeClr val="dk1"/>
                </a:solidFill>
                <a:latin typeface="Arial"/>
                <a:cs typeface="Arial"/>
              </a:rPr>
              <a:t>group of key stakeholders </a:t>
            </a:r>
            <a:r>
              <a:rPr lang="en-US" sz="1200">
                <a:solidFill>
                  <a:schemeClr val="dk1"/>
                </a:solidFill>
                <a:latin typeface="Arial"/>
                <a:cs typeface="Arial"/>
              </a:rPr>
              <a:t>that our Hellas Gold representatives (CLOs) meets regularly to inform about the progress and development of our operations as well as our social performance.</a:t>
            </a:r>
          </a:p>
          <a:p>
            <a:endParaRPr lang="en-GB" sz="1200">
              <a:solidFill>
                <a:schemeClr val="dk1"/>
              </a:solidFill>
              <a:latin typeface="Arial"/>
              <a:cs typeface="Arial"/>
              <a:sym typeface="Arial"/>
            </a:endParaRPr>
          </a:p>
          <a:p>
            <a:endParaRPr lang="en-GB" sz="1200">
              <a:solidFill>
                <a:schemeClr val="dk1"/>
              </a:solidFill>
              <a:latin typeface="Arial"/>
              <a:cs typeface="Arial"/>
            </a:endParaRPr>
          </a:p>
          <a:p>
            <a:r>
              <a:rPr lang="en-GB" sz="1200" b="1">
                <a:solidFill>
                  <a:srgbClr val="008080"/>
                </a:solidFill>
                <a:latin typeface="Arial"/>
                <a:cs typeface="Arial"/>
                <a:sym typeface="Arial"/>
              </a:rPr>
              <a:t>Community Office</a:t>
            </a:r>
            <a:endParaRPr lang="en-GB" sz="1200" b="1">
              <a:solidFill>
                <a:srgbClr val="008080"/>
              </a:solidFill>
              <a:latin typeface="Arial"/>
              <a:cs typeface="Arial"/>
            </a:endParaRPr>
          </a:p>
          <a:p>
            <a:r>
              <a:rPr lang="en-US" sz="1200" b="1">
                <a:solidFill>
                  <a:schemeClr val="dk1"/>
                </a:solidFill>
                <a:latin typeface="Arial"/>
                <a:cs typeface="Arial"/>
                <a:sym typeface="Arial"/>
              </a:rPr>
              <a:t>A direct point of contact</a:t>
            </a:r>
            <a:r>
              <a:rPr lang="en-US" sz="1200">
                <a:solidFill>
                  <a:schemeClr val="dk1"/>
                </a:solidFill>
                <a:latin typeface="Arial"/>
                <a:cs typeface="Arial"/>
                <a:sym typeface="Arial"/>
              </a:rPr>
              <a:t> between the company and local communities. Our stakeholders can meet with our CLOs on a regular basis by visiting our established community office in </a:t>
            </a:r>
            <a:r>
              <a:rPr lang="en-US" sz="1200" err="1">
                <a:solidFill>
                  <a:schemeClr val="dk1"/>
                </a:solidFill>
                <a:latin typeface="Arial"/>
                <a:cs typeface="Arial"/>
                <a:sym typeface="Arial"/>
              </a:rPr>
              <a:t>Palaiochori</a:t>
            </a:r>
            <a:r>
              <a:rPr lang="en-US" sz="1200">
                <a:solidFill>
                  <a:schemeClr val="dk1"/>
                </a:solidFill>
                <a:latin typeface="Arial"/>
                <a:cs typeface="Arial"/>
                <a:sym typeface="Arial"/>
              </a:rPr>
              <a:t> to report their concerns/ requests in person.</a:t>
            </a:r>
            <a:endParaRPr lang="en-GB" sz="1200">
              <a:solidFill>
                <a:schemeClr val="dk1"/>
              </a:solidFill>
              <a:latin typeface="Arial"/>
              <a:cs typeface="Arial"/>
            </a:endParaRPr>
          </a:p>
          <a:p>
            <a:pPr>
              <a:spcBef>
                <a:spcPts val="1200"/>
              </a:spcBef>
            </a:pPr>
            <a:endParaRPr lang="en-GB" sz="1200">
              <a:solidFill>
                <a:schemeClr val="dk1"/>
              </a:solidFill>
              <a:latin typeface="Arial"/>
              <a:cs typeface="Arial"/>
              <a:sym typeface="Arial"/>
            </a:endParaRPr>
          </a:p>
        </p:txBody>
      </p:sp>
      <p:grpSp>
        <p:nvGrpSpPr>
          <p:cNvPr id="13" name="Google Shape;26484;p246">
            <a:extLst>
              <a:ext uri="{FF2B5EF4-FFF2-40B4-BE49-F238E27FC236}">
                <a16:creationId xmlns:a16="http://schemas.microsoft.com/office/drawing/2014/main" id="{93B916AF-704D-32D1-172C-18F5CA1FFC33}"/>
              </a:ext>
            </a:extLst>
          </p:cNvPr>
          <p:cNvGrpSpPr/>
          <p:nvPr/>
        </p:nvGrpSpPr>
        <p:grpSpPr>
          <a:xfrm>
            <a:off x="5559167" y="1205424"/>
            <a:ext cx="468000" cy="468000"/>
            <a:chOff x="5230647" y="1187703"/>
            <a:chExt cx="448483" cy="419691"/>
          </a:xfrm>
          <a:solidFill>
            <a:schemeClr val="accent3">
              <a:lumMod val="75000"/>
            </a:schemeClr>
          </a:solidFill>
        </p:grpSpPr>
        <p:sp>
          <p:nvSpPr>
            <p:cNvPr id="14" name="Google Shape;26485;p246">
              <a:extLst>
                <a:ext uri="{FF2B5EF4-FFF2-40B4-BE49-F238E27FC236}">
                  <a16:creationId xmlns:a16="http://schemas.microsoft.com/office/drawing/2014/main" id="{A45AA497-7DA6-4519-9B0D-C3131F99D6DA}"/>
                </a:ext>
              </a:extLst>
            </p:cNvPr>
            <p:cNvSpPr/>
            <p:nvPr/>
          </p:nvSpPr>
          <p:spPr>
            <a:xfrm>
              <a:off x="5546758" y="1428247"/>
              <a:ext cx="132372" cy="55983"/>
            </a:xfrm>
            <a:custGeom>
              <a:avLst/>
              <a:gdLst/>
              <a:ahLst/>
              <a:cxnLst/>
              <a:rect l="l" t="t" r="r" b="b"/>
              <a:pathLst>
                <a:path w="132372" h="55983" extrusionOk="0">
                  <a:moveTo>
                    <a:pt x="112403" y="55984"/>
                  </a:moveTo>
                  <a:lnTo>
                    <a:pt x="19408" y="55984"/>
                  </a:lnTo>
                  <a:cubicBezTo>
                    <a:pt x="8721" y="56019"/>
                    <a:pt x="31" y="47386"/>
                    <a:pt x="0" y="36702"/>
                  </a:cubicBezTo>
                  <a:cubicBezTo>
                    <a:pt x="-12" y="32430"/>
                    <a:pt x="1387" y="28274"/>
                    <a:pt x="3981" y="24882"/>
                  </a:cubicBezTo>
                  <a:cubicBezTo>
                    <a:pt x="15800" y="9393"/>
                    <a:pt x="39500" y="0"/>
                    <a:pt x="66185" y="0"/>
                  </a:cubicBezTo>
                  <a:cubicBezTo>
                    <a:pt x="92871" y="0"/>
                    <a:pt x="116322" y="9579"/>
                    <a:pt x="128389" y="24882"/>
                  </a:cubicBezTo>
                  <a:cubicBezTo>
                    <a:pt x="134884" y="33366"/>
                    <a:pt x="133266" y="45509"/>
                    <a:pt x="124781" y="52001"/>
                  </a:cubicBezTo>
                  <a:cubicBezTo>
                    <a:pt x="121391" y="54598"/>
                    <a:pt x="117236" y="55998"/>
                    <a:pt x="112963" y="55984"/>
                  </a:cubicBezTo>
                  <a:close/>
                  <a:moveTo>
                    <a:pt x="65874" y="18661"/>
                  </a:moveTo>
                  <a:cubicBezTo>
                    <a:pt x="45534" y="18661"/>
                    <a:pt x="27059" y="25628"/>
                    <a:pt x="18848" y="36327"/>
                  </a:cubicBezTo>
                  <a:cubicBezTo>
                    <a:pt x="18848" y="36327"/>
                    <a:pt x="18848" y="36327"/>
                    <a:pt x="18848" y="36887"/>
                  </a:cubicBezTo>
                  <a:cubicBezTo>
                    <a:pt x="18910" y="37138"/>
                    <a:pt x="19153" y="37300"/>
                    <a:pt x="19408" y="37260"/>
                  </a:cubicBezTo>
                  <a:lnTo>
                    <a:pt x="112403" y="37260"/>
                  </a:lnTo>
                  <a:cubicBezTo>
                    <a:pt x="112403" y="37260"/>
                    <a:pt x="112776" y="37260"/>
                    <a:pt x="112963" y="36887"/>
                  </a:cubicBezTo>
                  <a:cubicBezTo>
                    <a:pt x="113149" y="36514"/>
                    <a:pt x="112963" y="36514"/>
                    <a:pt x="112963" y="36327"/>
                  </a:cubicBezTo>
                  <a:cubicBezTo>
                    <a:pt x="104752" y="25566"/>
                    <a:pt x="86277" y="18599"/>
                    <a:pt x="65874" y="18599"/>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5" name="Google Shape;26486;p246">
              <a:extLst>
                <a:ext uri="{FF2B5EF4-FFF2-40B4-BE49-F238E27FC236}">
                  <a16:creationId xmlns:a16="http://schemas.microsoft.com/office/drawing/2014/main" id="{71BF27CA-4853-CAE5-101D-94531D87B55E}"/>
                </a:ext>
              </a:extLst>
            </p:cNvPr>
            <p:cNvSpPr/>
            <p:nvPr/>
          </p:nvSpPr>
          <p:spPr>
            <a:xfrm>
              <a:off x="5580286" y="1353788"/>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23"/>
                  </a:moveTo>
                  <a:cubicBezTo>
                    <a:pt x="24819" y="18724"/>
                    <a:pt x="18723" y="24823"/>
                    <a:pt x="18723" y="32347"/>
                  </a:cubicBezTo>
                  <a:cubicBezTo>
                    <a:pt x="18723" y="39870"/>
                    <a:pt x="24825" y="45969"/>
                    <a:pt x="32346" y="45969"/>
                  </a:cubicBezTo>
                  <a:cubicBezTo>
                    <a:pt x="39823" y="45968"/>
                    <a:pt x="45900" y="39945"/>
                    <a:pt x="45969" y="32471"/>
                  </a:cubicBezTo>
                  <a:cubicBezTo>
                    <a:pt x="46037" y="24947"/>
                    <a:pt x="39997" y="18792"/>
                    <a:pt x="32470" y="18724"/>
                  </a:cubicBezTo>
                  <a:cubicBezTo>
                    <a:pt x="32427" y="18723"/>
                    <a:pt x="32389" y="18723"/>
                    <a:pt x="32346" y="18723"/>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6" name="Google Shape;26487;p246">
              <a:extLst>
                <a:ext uri="{FF2B5EF4-FFF2-40B4-BE49-F238E27FC236}">
                  <a16:creationId xmlns:a16="http://schemas.microsoft.com/office/drawing/2014/main" id="{2FE5F51A-AC47-410E-0B26-5FA00F7F8256}"/>
                </a:ext>
              </a:extLst>
            </p:cNvPr>
            <p:cNvSpPr/>
            <p:nvPr/>
          </p:nvSpPr>
          <p:spPr>
            <a:xfrm>
              <a:off x="5230647" y="1428247"/>
              <a:ext cx="132349" cy="55988"/>
            </a:xfrm>
            <a:custGeom>
              <a:avLst/>
              <a:gdLst/>
              <a:ahLst/>
              <a:cxnLst/>
              <a:rect l="l" t="t" r="r" b="b"/>
              <a:pathLst>
                <a:path w="132349" h="55988" extrusionOk="0">
                  <a:moveTo>
                    <a:pt x="112517" y="55984"/>
                  </a:moveTo>
                  <a:lnTo>
                    <a:pt x="19211" y="55984"/>
                  </a:lnTo>
                  <a:cubicBezTo>
                    <a:pt x="11883" y="55911"/>
                    <a:pt x="5233" y="51693"/>
                    <a:pt x="2042" y="45098"/>
                  </a:cubicBezTo>
                  <a:cubicBezTo>
                    <a:pt x="-1261" y="38550"/>
                    <a:pt x="-514" y="30686"/>
                    <a:pt x="3971" y="24882"/>
                  </a:cubicBezTo>
                  <a:cubicBezTo>
                    <a:pt x="15790" y="9393"/>
                    <a:pt x="39552" y="0"/>
                    <a:pt x="66175" y="0"/>
                  </a:cubicBezTo>
                  <a:cubicBezTo>
                    <a:pt x="92798" y="0"/>
                    <a:pt x="116311" y="9579"/>
                    <a:pt x="128379" y="24882"/>
                  </a:cubicBezTo>
                  <a:cubicBezTo>
                    <a:pt x="132864" y="30686"/>
                    <a:pt x="133610" y="38550"/>
                    <a:pt x="130307" y="45098"/>
                  </a:cubicBezTo>
                  <a:cubicBezTo>
                    <a:pt x="127023" y="51897"/>
                    <a:pt x="120068" y="56152"/>
                    <a:pt x="112517" y="55984"/>
                  </a:cubicBezTo>
                  <a:close/>
                  <a:moveTo>
                    <a:pt x="65988" y="18661"/>
                  </a:moveTo>
                  <a:cubicBezTo>
                    <a:pt x="45585" y="18661"/>
                    <a:pt x="27173" y="25628"/>
                    <a:pt x="18900" y="36327"/>
                  </a:cubicBezTo>
                  <a:cubicBezTo>
                    <a:pt x="18900" y="36327"/>
                    <a:pt x="18900" y="36327"/>
                    <a:pt x="18900" y="36887"/>
                  </a:cubicBezTo>
                  <a:cubicBezTo>
                    <a:pt x="18900" y="37447"/>
                    <a:pt x="19273" y="37260"/>
                    <a:pt x="19459" y="37260"/>
                  </a:cubicBezTo>
                  <a:lnTo>
                    <a:pt x="112765" y="37260"/>
                  </a:lnTo>
                  <a:cubicBezTo>
                    <a:pt x="113015" y="37275"/>
                    <a:pt x="113245" y="37122"/>
                    <a:pt x="113325" y="36887"/>
                  </a:cubicBezTo>
                  <a:cubicBezTo>
                    <a:pt x="113450" y="36745"/>
                    <a:pt x="113450" y="36531"/>
                    <a:pt x="113325" y="36389"/>
                  </a:cubicBezTo>
                  <a:cubicBezTo>
                    <a:pt x="104804" y="25566"/>
                    <a:pt x="86329" y="18599"/>
                    <a:pt x="65988" y="18599"/>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7" name="Google Shape;26488;p246">
              <a:extLst>
                <a:ext uri="{FF2B5EF4-FFF2-40B4-BE49-F238E27FC236}">
                  <a16:creationId xmlns:a16="http://schemas.microsoft.com/office/drawing/2014/main" id="{FB596E6F-B1AD-3F40-0F34-86281B30C9EB}"/>
                </a:ext>
              </a:extLst>
            </p:cNvPr>
            <p:cNvSpPr/>
            <p:nvPr/>
          </p:nvSpPr>
          <p:spPr>
            <a:xfrm>
              <a:off x="5264289" y="1353788"/>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23"/>
                  </a:moveTo>
                  <a:cubicBezTo>
                    <a:pt x="24825" y="18689"/>
                    <a:pt x="18698" y="24761"/>
                    <a:pt x="18661" y="32285"/>
                  </a:cubicBezTo>
                  <a:cubicBezTo>
                    <a:pt x="18630" y="39808"/>
                    <a:pt x="24701" y="45935"/>
                    <a:pt x="32222" y="45969"/>
                  </a:cubicBezTo>
                  <a:cubicBezTo>
                    <a:pt x="39723" y="46002"/>
                    <a:pt x="45838" y="39969"/>
                    <a:pt x="45907" y="32471"/>
                  </a:cubicBezTo>
                  <a:cubicBezTo>
                    <a:pt x="45975" y="24947"/>
                    <a:pt x="39935" y="18792"/>
                    <a:pt x="32408" y="18724"/>
                  </a:cubicBezTo>
                  <a:cubicBezTo>
                    <a:pt x="32389" y="18723"/>
                    <a:pt x="32365" y="18723"/>
                    <a:pt x="32346" y="18723"/>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 name="Google Shape;26489;p246">
              <a:extLst>
                <a:ext uri="{FF2B5EF4-FFF2-40B4-BE49-F238E27FC236}">
                  <a16:creationId xmlns:a16="http://schemas.microsoft.com/office/drawing/2014/main" id="{E1334D66-0C10-EC67-8CE2-91AEB65A48F5}"/>
                </a:ext>
              </a:extLst>
            </p:cNvPr>
            <p:cNvSpPr/>
            <p:nvPr/>
          </p:nvSpPr>
          <p:spPr>
            <a:xfrm>
              <a:off x="5385774" y="1262162"/>
              <a:ext cx="132372" cy="55983"/>
            </a:xfrm>
            <a:custGeom>
              <a:avLst/>
              <a:gdLst/>
              <a:ahLst/>
              <a:cxnLst/>
              <a:rect l="l" t="t" r="r" b="b"/>
              <a:pathLst>
                <a:path w="132372" h="55983" extrusionOk="0">
                  <a:moveTo>
                    <a:pt x="112714" y="55984"/>
                  </a:moveTo>
                  <a:lnTo>
                    <a:pt x="19408" y="55984"/>
                  </a:lnTo>
                  <a:cubicBezTo>
                    <a:pt x="8721" y="56019"/>
                    <a:pt x="31" y="47386"/>
                    <a:pt x="0" y="36702"/>
                  </a:cubicBezTo>
                  <a:cubicBezTo>
                    <a:pt x="-12" y="32430"/>
                    <a:pt x="1387" y="28274"/>
                    <a:pt x="3981" y="24882"/>
                  </a:cubicBezTo>
                  <a:cubicBezTo>
                    <a:pt x="15800" y="9393"/>
                    <a:pt x="39562" y="0"/>
                    <a:pt x="66185" y="0"/>
                  </a:cubicBezTo>
                  <a:cubicBezTo>
                    <a:pt x="92809" y="0"/>
                    <a:pt x="116322" y="9579"/>
                    <a:pt x="128389" y="24882"/>
                  </a:cubicBezTo>
                  <a:cubicBezTo>
                    <a:pt x="134884" y="33366"/>
                    <a:pt x="133266" y="45509"/>
                    <a:pt x="124781" y="52001"/>
                  </a:cubicBezTo>
                  <a:cubicBezTo>
                    <a:pt x="121391" y="54598"/>
                    <a:pt x="117236" y="55997"/>
                    <a:pt x="112963" y="55984"/>
                  </a:cubicBezTo>
                  <a:close/>
                  <a:moveTo>
                    <a:pt x="66185" y="18661"/>
                  </a:moveTo>
                  <a:cubicBezTo>
                    <a:pt x="45844" y="18661"/>
                    <a:pt x="27370" y="25628"/>
                    <a:pt x="19159" y="36389"/>
                  </a:cubicBezTo>
                  <a:cubicBezTo>
                    <a:pt x="19159" y="36389"/>
                    <a:pt x="19159" y="36389"/>
                    <a:pt x="19159" y="36949"/>
                  </a:cubicBezTo>
                  <a:cubicBezTo>
                    <a:pt x="19240" y="37184"/>
                    <a:pt x="19470" y="37337"/>
                    <a:pt x="19719" y="37322"/>
                  </a:cubicBezTo>
                  <a:lnTo>
                    <a:pt x="113025" y="37322"/>
                  </a:lnTo>
                  <a:cubicBezTo>
                    <a:pt x="113274" y="37337"/>
                    <a:pt x="113504" y="37184"/>
                    <a:pt x="113585" y="36949"/>
                  </a:cubicBezTo>
                  <a:cubicBezTo>
                    <a:pt x="113585" y="36638"/>
                    <a:pt x="113585" y="36514"/>
                    <a:pt x="113585" y="36389"/>
                  </a:cubicBezTo>
                  <a:cubicBezTo>
                    <a:pt x="105001" y="25566"/>
                    <a:pt x="86526" y="18350"/>
                    <a:pt x="66185" y="18350"/>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9" name="Google Shape;26490;p246">
              <a:extLst>
                <a:ext uri="{FF2B5EF4-FFF2-40B4-BE49-F238E27FC236}">
                  <a16:creationId xmlns:a16="http://schemas.microsoft.com/office/drawing/2014/main" id="{7635960D-D8B1-EB03-5D93-D6069F66A5C8}"/>
                </a:ext>
              </a:extLst>
            </p:cNvPr>
            <p:cNvSpPr/>
            <p:nvPr/>
          </p:nvSpPr>
          <p:spPr>
            <a:xfrm>
              <a:off x="5419613" y="1187703"/>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86"/>
                  </a:moveTo>
                  <a:cubicBezTo>
                    <a:pt x="24819" y="18786"/>
                    <a:pt x="18723" y="24885"/>
                    <a:pt x="18723" y="32408"/>
                  </a:cubicBezTo>
                  <a:cubicBezTo>
                    <a:pt x="18723" y="39932"/>
                    <a:pt x="24826" y="46031"/>
                    <a:pt x="32346" y="46031"/>
                  </a:cubicBezTo>
                  <a:cubicBezTo>
                    <a:pt x="39873" y="46031"/>
                    <a:pt x="45969" y="39932"/>
                    <a:pt x="45969" y="32408"/>
                  </a:cubicBezTo>
                  <a:cubicBezTo>
                    <a:pt x="45969" y="32388"/>
                    <a:pt x="45969" y="32367"/>
                    <a:pt x="45969" y="32346"/>
                  </a:cubicBezTo>
                  <a:cubicBezTo>
                    <a:pt x="45938" y="24847"/>
                    <a:pt x="39848" y="18786"/>
                    <a:pt x="32346" y="18786"/>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0" name="Google Shape;26491;p246">
              <a:extLst>
                <a:ext uri="{FF2B5EF4-FFF2-40B4-BE49-F238E27FC236}">
                  <a16:creationId xmlns:a16="http://schemas.microsoft.com/office/drawing/2014/main" id="{F7C3F108-4105-726C-6EFF-A38F7C9002CE}"/>
                </a:ext>
              </a:extLst>
            </p:cNvPr>
            <p:cNvSpPr/>
            <p:nvPr/>
          </p:nvSpPr>
          <p:spPr>
            <a:xfrm>
              <a:off x="5391123" y="1551411"/>
              <a:ext cx="132372" cy="55983"/>
            </a:xfrm>
            <a:custGeom>
              <a:avLst/>
              <a:gdLst/>
              <a:ahLst/>
              <a:cxnLst/>
              <a:rect l="l" t="t" r="r" b="b"/>
              <a:pathLst>
                <a:path w="132372" h="55983" extrusionOk="0">
                  <a:moveTo>
                    <a:pt x="112714" y="55984"/>
                  </a:moveTo>
                  <a:lnTo>
                    <a:pt x="19408" y="55984"/>
                  </a:lnTo>
                  <a:cubicBezTo>
                    <a:pt x="8721" y="56019"/>
                    <a:pt x="31" y="47386"/>
                    <a:pt x="0" y="36702"/>
                  </a:cubicBezTo>
                  <a:cubicBezTo>
                    <a:pt x="-12" y="32430"/>
                    <a:pt x="1387" y="28274"/>
                    <a:pt x="3981" y="24882"/>
                  </a:cubicBezTo>
                  <a:cubicBezTo>
                    <a:pt x="15800" y="9455"/>
                    <a:pt x="39562" y="0"/>
                    <a:pt x="66185" y="0"/>
                  </a:cubicBezTo>
                  <a:cubicBezTo>
                    <a:pt x="92809" y="0"/>
                    <a:pt x="116322" y="9642"/>
                    <a:pt x="128389" y="24882"/>
                  </a:cubicBezTo>
                  <a:cubicBezTo>
                    <a:pt x="134884" y="33366"/>
                    <a:pt x="133266" y="45508"/>
                    <a:pt x="124782" y="52001"/>
                  </a:cubicBezTo>
                  <a:cubicBezTo>
                    <a:pt x="121391" y="54598"/>
                    <a:pt x="117236" y="55998"/>
                    <a:pt x="112963" y="55984"/>
                  </a:cubicBezTo>
                  <a:close/>
                  <a:moveTo>
                    <a:pt x="66185" y="18661"/>
                  </a:moveTo>
                  <a:cubicBezTo>
                    <a:pt x="45845" y="18661"/>
                    <a:pt x="27370" y="25566"/>
                    <a:pt x="19159" y="36327"/>
                  </a:cubicBezTo>
                  <a:cubicBezTo>
                    <a:pt x="19159" y="36327"/>
                    <a:pt x="19159" y="36327"/>
                    <a:pt x="19159" y="36887"/>
                  </a:cubicBezTo>
                  <a:cubicBezTo>
                    <a:pt x="19240" y="37122"/>
                    <a:pt x="19470" y="37275"/>
                    <a:pt x="19719" y="37260"/>
                  </a:cubicBezTo>
                  <a:lnTo>
                    <a:pt x="113025" y="37260"/>
                  </a:lnTo>
                  <a:cubicBezTo>
                    <a:pt x="113274" y="37275"/>
                    <a:pt x="113504" y="37122"/>
                    <a:pt x="113585" y="36887"/>
                  </a:cubicBezTo>
                  <a:cubicBezTo>
                    <a:pt x="113722" y="36725"/>
                    <a:pt x="113722" y="36489"/>
                    <a:pt x="113585" y="36327"/>
                  </a:cubicBezTo>
                  <a:cubicBezTo>
                    <a:pt x="105001" y="25566"/>
                    <a:pt x="86526" y="18661"/>
                    <a:pt x="66185" y="18661"/>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1" name="Google Shape;26492;p246">
              <a:extLst>
                <a:ext uri="{FF2B5EF4-FFF2-40B4-BE49-F238E27FC236}">
                  <a16:creationId xmlns:a16="http://schemas.microsoft.com/office/drawing/2014/main" id="{B6C20977-F191-E71C-1D75-5A4FE237F58F}"/>
                </a:ext>
              </a:extLst>
            </p:cNvPr>
            <p:cNvSpPr/>
            <p:nvPr/>
          </p:nvSpPr>
          <p:spPr>
            <a:xfrm>
              <a:off x="5424962" y="1477077"/>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32367"/>
                    <a:pt x="64692" y="32388"/>
                    <a:pt x="64692" y="32408"/>
                  </a:cubicBezTo>
                  <a:cubicBezTo>
                    <a:pt x="64661" y="50248"/>
                    <a:pt x="50187" y="64692"/>
                    <a:pt x="32346" y="64692"/>
                  </a:cubicBezTo>
                  <a:close/>
                  <a:moveTo>
                    <a:pt x="32346" y="18786"/>
                  </a:moveTo>
                  <a:cubicBezTo>
                    <a:pt x="24820" y="18786"/>
                    <a:pt x="18723" y="24885"/>
                    <a:pt x="18723" y="32408"/>
                  </a:cubicBezTo>
                  <a:cubicBezTo>
                    <a:pt x="18723" y="39932"/>
                    <a:pt x="24820" y="46031"/>
                    <a:pt x="32346" y="46031"/>
                  </a:cubicBezTo>
                  <a:cubicBezTo>
                    <a:pt x="39873" y="46031"/>
                    <a:pt x="45969" y="39932"/>
                    <a:pt x="45969" y="32408"/>
                  </a:cubicBezTo>
                  <a:cubicBezTo>
                    <a:pt x="46037" y="24885"/>
                    <a:pt x="39998" y="18730"/>
                    <a:pt x="32471" y="18662"/>
                  </a:cubicBezTo>
                  <a:cubicBezTo>
                    <a:pt x="32427" y="18661"/>
                    <a:pt x="32390" y="18661"/>
                    <a:pt x="32346" y="18661"/>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2" name="Google Shape;26493;p246">
              <a:extLst>
                <a:ext uri="{FF2B5EF4-FFF2-40B4-BE49-F238E27FC236}">
                  <a16:creationId xmlns:a16="http://schemas.microsoft.com/office/drawing/2014/main" id="{F5537F94-9C2A-AF55-E5FB-2B008212F26B}"/>
                </a:ext>
              </a:extLst>
            </p:cNvPr>
            <p:cNvSpPr/>
            <p:nvPr/>
          </p:nvSpPr>
          <p:spPr>
            <a:xfrm>
              <a:off x="5297742" y="1263884"/>
              <a:ext cx="64000" cy="70745"/>
            </a:xfrm>
            <a:custGeom>
              <a:avLst/>
              <a:gdLst/>
              <a:ahLst/>
              <a:cxnLst/>
              <a:rect l="l" t="t" r="r" b="b"/>
              <a:pathLst>
                <a:path w="64000" h="70745" extrusionOk="0">
                  <a:moveTo>
                    <a:pt x="9219" y="70745"/>
                  </a:moveTo>
                  <a:cubicBezTo>
                    <a:pt x="7608" y="70744"/>
                    <a:pt x="6028" y="70338"/>
                    <a:pt x="4616" y="69563"/>
                  </a:cubicBezTo>
                  <a:cubicBezTo>
                    <a:pt x="311" y="67020"/>
                    <a:pt x="-1244" y="61552"/>
                    <a:pt x="1070" y="57122"/>
                  </a:cubicBezTo>
                  <a:cubicBezTo>
                    <a:pt x="12802" y="36115"/>
                    <a:pt x="28676" y="17705"/>
                    <a:pt x="47723" y="3005"/>
                  </a:cubicBezTo>
                  <a:cubicBezTo>
                    <a:pt x="51250" y="-798"/>
                    <a:pt x="57197" y="-1021"/>
                    <a:pt x="60997" y="2507"/>
                  </a:cubicBezTo>
                  <a:cubicBezTo>
                    <a:pt x="64798" y="6035"/>
                    <a:pt x="65022" y="11978"/>
                    <a:pt x="61495" y="15781"/>
                  </a:cubicBezTo>
                  <a:cubicBezTo>
                    <a:pt x="60873" y="16455"/>
                    <a:pt x="60151" y="17034"/>
                    <a:pt x="59355" y="17498"/>
                  </a:cubicBezTo>
                  <a:cubicBezTo>
                    <a:pt x="42274" y="30646"/>
                    <a:pt x="28054" y="47133"/>
                    <a:pt x="17554" y="65955"/>
                  </a:cubicBezTo>
                  <a:cubicBezTo>
                    <a:pt x="15856" y="68950"/>
                    <a:pt x="12665" y="70785"/>
                    <a:pt x="9219" y="70745"/>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3" name="Google Shape;26494;p246">
              <a:extLst>
                <a:ext uri="{FF2B5EF4-FFF2-40B4-BE49-F238E27FC236}">
                  <a16:creationId xmlns:a16="http://schemas.microsoft.com/office/drawing/2014/main" id="{D219ECDA-538B-E45F-35FC-D9CC466C0D56}"/>
                </a:ext>
              </a:extLst>
            </p:cNvPr>
            <p:cNvSpPr/>
            <p:nvPr/>
          </p:nvSpPr>
          <p:spPr>
            <a:xfrm>
              <a:off x="5548723" y="1264624"/>
              <a:ext cx="62871" cy="70005"/>
            </a:xfrm>
            <a:custGeom>
              <a:avLst/>
              <a:gdLst/>
              <a:ahLst/>
              <a:cxnLst/>
              <a:rect l="l" t="t" r="r" b="b"/>
              <a:pathLst>
                <a:path w="62871" h="70005" extrusionOk="0">
                  <a:moveTo>
                    <a:pt x="53646" y="70006"/>
                  </a:moveTo>
                  <a:cubicBezTo>
                    <a:pt x="50249" y="70002"/>
                    <a:pt x="47114" y="68173"/>
                    <a:pt x="45435" y="65216"/>
                  </a:cubicBezTo>
                  <a:cubicBezTo>
                    <a:pt x="34935" y="46394"/>
                    <a:pt x="20715" y="29906"/>
                    <a:pt x="3634" y="16759"/>
                  </a:cubicBezTo>
                  <a:cubicBezTo>
                    <a:pt x="-453" y="13599"/>
                    <a:pt x="-1206" y="7722"/>
                    <a:pt x="1954" y="3634"/>
                  </a:cubicBezTo>
                  <a:cubicBezTo>
                    <a:pt x="5114" y="-454"/>
                    <a:pt x="10992" y="-1206"/>
                    <a:pt x="15079" y="1955"/>
                  </a:cubicBezTo>
                  <a:cubicBezTo>
                    <a:pt x="34145" y="16652"/>
                    <a:pt x="50038" y="35061"/>
                    <a:pt x="61794" y="56072"/>
                  </a:cubicBezTo>
                  <a:cubicBezTo>
                    <a:pt x="64133" y="60514"/>
                    <a:pt x="62541" y="66012"/>
                    <a:pt x="58186" y="68513"/>
                  </a:cubicBezTo>
                  <a:cubicBezTo>
                    <a:pt x="56831" y="69404"/>
                    <a:pt x="55263" y="69919"/>
                    <a:pt x="53646" y="70006"/>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4" name="Google Shape;26495;p246">
              <a:extLst>
                <a:ext uri="{FF2B5EF4-FFF2-40B4-BE49-F238E27FC236}">
                  <a16:creationId xmlns:a16="http://schemas.microsoft.com/office/drawing/2014/main" id="{B33798B3-3EA8-20BD-7F6B-4CB5E515C946}"/>
                </a:ext>
              </a:extLst>
            </p:cNvPr>
            <p:cNvSpPr/>
            <p:nvPr/>
          </p:nvSpPr>
          <p:spPr>
            <a:xfrm>
              <a:off x="5297284" y="1502237"/>
              <a:ext cx="63458" cy="70634"/>
            </a:xfrm>
            <a:custGeom>
              <a:avLst/>
              <a:gdLst/>
              <a:ahLst/>
              <a:cxnLst/>
              <a:rect l="l" t="t" r="r" b="b"/>
              <a:pathLst>
                <a:path w="63458" h="70634" extrusionOk="0">
                  <a:moveTo>
                    <a:pt x="53966" y="70634"/>
                  </a:moveTo>
                  <a:cubicBezTo>
                    <a:pt x="51870" y="70621"/>
                    <a:pt x="49842" y="69922"/>
                    <a:pt x="48181" y="68644"/>
                  </a:cubicBezTo>
                  <a:cubicBezTo>
                    <a:pt x="29134" y="53944"/>
                    <a:pt x="13260" y="35534"/>
                    <a:pt x="1528" y="14526"/>
                  </a:cubicBezTo>
                  <a:cubicBezTo>
                    <a:pt x="-1308" y="10182"/>
                    <a:pt x="-83" y="4362"/>
                    <a:pt x="4265" y="1527"/>
                  </a:cubicBezTo>
                  <a:cubicBezTo>
                    <a:pt x="8607" y="-1307"/>
                    <a:pt x="14429" y="-83"/>
                    <a:pt x="17260" y="4261"/>
                  </a:cubicBezTo>
                  <a:cubicBezTo>
                    <a:pt x="17496" y="4620"/>
                    <a:pt x="17708" y="4995"/>
                    <a:pt x="17888" y="5382"/>
                  </a:cubicBezTo>
                  <a:cubicBezTo>
                    <a:pt x="28481" y="24104"/>
                    <a:pt x="42745" y="40499"/>
                    <a:pt x="59813" y="53590"/>
                  </a:cubicBezTo>
                  <a:cubicBezTo>
                    <a:pt x="63900" y="56731"/>
                    <a:pt x="64666" y="62589"/>
                    <a:pt x="61524" y="66674"/>
                  </a:cubicBezTo>
                  <a:cubicBezTo>
                    <a:pt x="61512" y="66688"/>
                    <a:pt x="61505" y="66702"/>
                    <a:pt x="61493" y="66715"/>
                  </a:cubicBezTo>
                  <a:cubicBezTo>
                    <a:pt x="59745" y="69138"/>
                    <a:pt x="56952" y="70591"/>
                    <a:pt x="53966" y="70634"/>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5" name="Google Shape;26496;p246">
              <a:extLst>
                <a:ext uri="{FF2B5EF4-FFF2-40B4-BE49-F238E27FC236}">
                  <a16:creationId xmlns:a16="http://schemas.microsoft.com/office/drawing/2014/main" id="{32569292-70E4-1DF3-930A-7326AEC9FFA7}"/>
                </a:ext>
              </a:extLst>
            </p:cNvPr>
            <p:cNvSpPr/>
            <p:nvPr/>
          </p:nvSpPr>
          <p:spPr>
            <a:xfrm>
              <a:off x="5548748" y="1502236"/>
              <a:ext cx="63298" cy="70635"/>
            </a:xfrm>
            <a:custGeom>
              <a:avLst/>
              <a:gdLst/>
              <a:ahLst/>
              <a:cxnLst/>
              <a:rect l="l" t="t" r="r" b="b"/>
              <a:pathLst>
                <a:path w="63298" h="70635" extrusionOk="0">
                  <a:moveTo>
                    <a:pt x="9331" y="70635"/>
                  </a:moveTo>
                  <a:cubicBezTo>
                    <a:pt x="4143" y="70603"/>
                    <a:pt x="-37" y="66371"/>
                    <a:pt x="0" y="61184"/>
                  </a:cubicBezTo>
                  <a:cubicBezTo>
                    <a:pt x="13" y="58313"/>
                    <a:pt x="1344" y="55607"/>
                    <a:pt x="3608" y="53840"/>
                  </a:cubicBezTo>
                  <a:cubicBezTo>
                    <a:pt x="20658" y="40664"/>
                    <a:pt x="34878" y="24183"/>
                    <a:pt x="45409" y="5383"/>
                  </a:cubicBezTo>
                  <a:cubicBezTo>
                    <a:pt x="47624" y="693"/>
                    <a:pt x="53222" y="-1314"/>
                    <a:pt x="57912" y="902"/>
                  </a:cubicBezTo>
                  <a:cubicBezTo>
                    <a:pt x="62603" y="3117"/>
                    <a:pt x="64612" y="8716"/>
                    <a:pt x="62397" y="13406"/>
                  </a:cubicBezTo>
                  <a:cubicBezTo>
                    <a:pt x="62210" y="13794"/>
                    <a:pt x="62005" y="14168"/>
                    <a:pt x="61769" y="14527"/>
                  </a:cubicBezTo>
                  <a:cubicBezTo>
                    <a:pt x="50012" y="35538"/>
                    <a:pt x="34119" y="53947"/>
                    <a:pt x="15054" y="68645"/>
                  </a:cubicBezTo>
                  <a:cubicBezTo>
                    <a:pt x="13418" y="69923"/>
                    <a:pt x="11408" y="70622"/>
                    <a:pt x="9331" y="70635"/>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26" name="Google Shape;27289;p254">
            <a:extLst>
              <a:ext uri="{FF2B5EF4-FFF2-40B4-BE49-F238E27FC236}">
                <a16:creationId xmlns:a16="http://schemas.microsoft.com/office/drawing/2014/main" id="{DD1E62F5-81D0-42BD-F9B1-67AB52561B7A}"/>
              </a:ext>
            </a:extLst>
          </p:cNvPr>
          <p:cNvSpPr/>
          <p:nvPr/>
        </p:nvSpPr>
        <p:spPr>
          <a:xfrm>
            <a:off x="5547200" y="2167270"/>
            <a:ext cx="406256" cy="477038"/>
          </a:xfrm>
          <a:custGeom>
            <a:avLst/>
            <a:gdLst/>
            <a:ahLst/>
            <a:cxnLst/>
            <a:rect l="l" t="t" r="r" b="b"/>
            <a:pathLst>
              <a:path w="200" h="200" extrusionOk="0">
                <a:moveTo>
                  <a:pt x="93" y="150"/>
                </a:moveTo>
                <a:cubicBezTo>
                  <a:pt x="93" y="150"/>
                  <a:pt x="93" y="150"/>
                  <a:pt x="93" y="150"/>
                </a:cubicBezTo>
                <a:cubicBezTo>
                  <a:pt x="93" y="135"/>
                  <a:pt x="93" y="135"/>
                  <a:pt x="93" y="135"/>
                </a:cubicBezTo>
                <a:cubicBezTo>
                  <a:pt x="61" y="102"/>
                  <a:pt x="61" y="102"/>
                  <a:pt x="61" y="102"/>
                </a:cubicBezTo>
                <a:cubicBezTo>
                  <a:pt x="58" y="99"/>
                  <a:pt x="54" y="99"/>
                  <a:pt x="52" y="102"/>
                </a:cubicBezTo>
                <a:cubicBezTo>
                  <a:pt x="49" y="104"/>
                  <a:pt x="49" y="108"/>
                  <a:pt x="52" y="111"/>
                </a:cubicBezTo>
                <a:cubicBezTo>
                  <a:pt x="100" y="159"/>
                  <a:pt x="100" y="159"/>
                  <a:pt x="100" y="159"/>
                </a:cubicBezTo>
                <a:cubicBezTo>
                  <a:pt x="147" y="111"/>
                  <a:pt x="147" y="111"/>
                  <a:pt x="147" y="111"/>
                </a:cubicBezTo>
                <a:cubicBezTo>
                  <a:pt x="150" y="108"/>
                  <a:pt x="150" y="104"/>
                  <a:pt x="147" y="102"/>
                </a:cubicBezTo>
                <a:cubicBezTo>
                  <a:pt x="145" y="99"/>
                  <a:pt x="141" y="99"/>
                  <a:pt x="139" y="102"/>
                </a:cubicBezTo>
                <a:cubicBezTo>
                  <a:pt x="106" y="135"/>
                  <a:pt x="106" y="135"/>
                  <a:pt x="106" y="135"/>
                </a:cubicBezTo>
                <a:cubicBezTo>
                  <a:pt x="106" y="62"/>
                  <a:pt x="106" y="62"/>
                  <a:pt x="106" y="62"/>
                </a:cubicBezTo>
                <a:cubicBezTo>
                  <a:pt x="93" y="62"/>
                  <a:pt x="93" y="62"/>
                  <a:pt x="93" y="62"/>
                </a:cubicBezTo>
                <a:cubicBezTo>
                  <a:pt x="93" y="135"/>
                  <a:pt x="93" y="135"/>
                  <a:pt x="93" y="135"/>
                </a:cubicBezTo>
                <a:lnTo>
                  <a:pt x="93" y="150"/>
                </a:lnTo>
                <a:close/>
                <a:moveTo>
                  <a:pt x="12" y="200"/>
                </a:moveTo>
                <a:cubicBezTo>
                  <a:pt x="187" y="200"/>
                  <a:pt x="187" y="200"/>
                  <a:pt x="187" y="200"/>
                </a:cubicBezTo>
                <a:cubicBezTo>
                  <a:pt x="194" y="200"/>
                  <a:pt x="200" y="194"/>
                  <a:pt x="200" y="187"/>
                </a:cubicBezTo>
                <a:cubicBezTo>
                  <a:pt x="200" y="50"/>
                  <a:pt x="200" y="50"/>
                  <a:pt x="200" y="50"/>
                </a:cubicBezTo>
                <a:cubicBezTo>
                  <a:pt x="106" y="50"/>
                  <a:pt x="106" y="50"/>
                  <a:pt x="106" y="50"/>
                </a:cubicBezTo>
                <a:cubicBezTo>
                  <a:pt x="106" y="62"/>
                  <a:pt x="106" y="62"/>
                  <a:pt x="106" y="62"/>
                </a:cubicBezTo>
                <a:cubicBezTo>
                  <a:pt x="187" y="62"/>
                  <a:pt x="187" y="62"/>
                  <a:pt x="187" y="62"/>
                </a:cubicBezTo>
                <a:cubicBezTo>
                  <a:pt x="187" y="187"/>
                  <a:pt x="187" y="187"/>
                  <a:pt x="187" y="187"/>
                </a:cubicBezTo>
                <a:cubicBezTo>
                  <a:pt x="12" y="187"/>
                  <a:pt x="12" y="187"/>
                  <a:pt x="12" y="187"/>
                </a:cubicBezTo>
                <a:cubicBezTo>
                  <a:pt x="12" y="62"/>
                  <a:pt x="12" y="62"/>
                  <a:pt x="12" y="62"/>
                </a:cubicBezTo>
                <a:cubicBezTo>
                  <a:pt x="93" y="62"/>
                  <a:pt x="93" y="62"/>
                  <a:pt x="93" y="62"/>
                </a:cubicBezTo>
                <a:cubicBezTo>
                  <a:pt x="93" y="50"/>
                  <a:pt x="93" y="50"/>
                  <a:pt x="93" y="50"/>
                </a:cubicBezTo>
                <a:cubicBezTo>
                  <a:pt x="0" y="50"/>
                  <a:pt x="0" y="50"/>
                  <a:pt x="0" y="50"/>
                </a:cubicBezTo>
                <a:cubicBezTo>
                  <a:pt x="0" y="187"/>
                  <a:pt x="0" y="187"/>
                  <a:pt x="0" y="187"/>
                </a:cubicBezTo>
                <a:cubicBezTo>
                  <a:pt x="0" y="194"/>
                  <a:pt x="5" y="200"/>
                  <a:pt x="12" y="200"/>
                </a:cubicBezTo>
                <a:close/>
                <a:moveTo>
                  <a:pt x="93" y="50"/>
                </a:moveTo>
                <a:cubicBezTo>
                  <a:pt x="106" y="50"/>
                  <a:pt x="106" y="50"/>
                  <a:pt x="106" y="50"/>
                </a:cubicBezTo>
                <a:cubicBezTo>
                  <a:pt x="106" y="0"/>
                  <a:pt x="106" y="0"/>
                  <a:pt x="106" y="0"/>
                </a:cubicBezTo>
                <a:cubicBezTo>
                  <a:pt x="93" y="0"/>
                  <a:pt x="93" y="0"/>
                  <a:pt x="93" y="0"/>
                </a:cubicBezTo>
                <a:lnTo>
                  <a:pt x="93" y="50"/>
                </a:lnTo>
                <a:close/>
                <a:moveTo>
                  <a:pt x="93" y="62"/>
                </a:moveTo>
                <a:cubicBezTo>
                  <a:pt x="106" y="62"/>
                  <a:pt x="106" y="62"/>
                  <a:pt x="106" y="62"/>
                </a:cubicBezTo>
                <a:cubicBezTo>
                  <a:pt x="106" y="50"/>
                  <a:pt x="106" y="50"/>
                  <a:pt x="106" y="50"/>
                </a:cubicBezTo>
                <a:cubicBezTo>
                  <a:pt x="93" y="50"/>
                  <a:pt x="93" y="50"/>
                  <a:pt x="93" y="50"/>
                </a:cubicBezTo>
                <a:lnTo>
                  <a:pt x="93" y="62"/>
                </a:lnTo>
                <a:close/>
              </a:path>
            </a:pathLst>
          </a:custGeom>
          <a:solidFill>
            <a:srgbClr val="00808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31" name="Google Shape;27593;p256">
            <a:extLst>
              <a:ext uri="{FF2B5EF4-FFF2-40B4-BE49-F238E27FC236}">
                <a16:creationId xmlns:a16="http://schemas.microsoft.com/office/drawing/2014/main" id="{9C3F78FB-2B1D-F659-7FE7-0F92886CE20B}"/>
              </a:ext>
            </a:extLst>
          </p:cNvPr>
          <p:cNvGrpSpPr/>
          <p:nvPr/>
        </p:nvGrpSpPr>
        <p:grpSpPr>
          <a:xfrm>
            <a:off x="5569344" y="3229186"/>
            <a:ext cx="447995" cy="395777"/>
            <a:chOff x="3950890" y="1222330"/>
            <a:chExt cx="447995" cy="395777"/>
          </a:xfrm>
          <a:solidFill>
            <a:schemeClr val="accent1"/>
          </a:solidFill>
        </p:grpSpPr>
        <p:sp>
          <p:nvSpPr>
            <p:cNvPr id="32" name="Google Shape;27594;p256">
              <a:extLst>
                <a:ext uri="{FF2B5EF4-FFF2-40B4-BE49-F238E27FC236}">
                  <a16:creationId xmlns:a16="http://schemas.microsoft.com/office/drawing/2014/main" id="{C8497F59-B6EF-4E2A-9B0D-DB9F3728AC40}"/>
                </a:ext>
              </a:extLst>
            </p:cNvPr>
            <p:cNvSpPr/>
            <p:nvPr/>
          </p:nvSpPr>
          <p:spPr>
            <a:xfrm>
              <a:off x="3950890" y="1222330"/>
              <a:ext cx="447995" cy="253174"/>
            </a:xfrm>
            <a:custGeom>
              <a:avLst/>
              <a:gdLst/>
              <a:ahLst/>
              <a:cxnLst/>
              <a:rect l="l" t="t" r="r" b="b"/>
              <a:pathLst>
                <a:path w="447995" h="253174" extrusionOk="0">
                  <a:moveTo>
                    <a:pt x="439412" y="37293"/>
                  </a:moveTo>
                  <a:cubicBezTo>
                    <a:pt x="299993" y="-13231"/>
                    <a:pt x="147133" y="-12394"/>
                    <a:pt x="8275" y="39657"/>
                  </a:cubicBezTo>
                  <a:cubicBezTo>
                    <a:pt x="3237" y="41447"/>
                    <a:pt x="-91" y="46255"/>
                    <a:pt x="2" y="51600"/>
                  </a:cubicBezTo>
                  <a:lnTo>
                    <a:pt x="2" y="213331"/>
                  </a:lnTo>
                  <a:cubicBezTo>
                    <a:pt x="52" y="218598"/>
                    <a:pt x="3305" y="223303"/>
                    <a:pt x="8213" y="225212"/>
                  </a:cubicBezTo>
                  <a:cubicBezTo>
                    <a:pt x="25568" y="231805"/>
                    <a:pt x="64197" y="240887"/>
                    <a:pt x="92002" y="247481"/>
                  </a:cubicBezTo>
                  <a:lnTo>
                    <a:pt x="110103" y="251835"/>
                  </a:lnTo>
                  <a:cubicBezTo>
                    <a:pt x="111758" y="252613"/>
                    <a:pt x="113562" y="253016"/>
                    <a:pt x="115390" y="253017"/>
                  </a:cubicBezTo>
                  <a:cubicBezTo>
                    <a:pt x="122500" y="253017"/>
                    <a:pt x="128267" y="247252"/>
                    <a:pt x="128267" y="240141"/>
                  </a:cubicBezTo>
                  <a:cubicBezTo>
                    <a:pt x="128267" y="240120"/>
                    <a:pt x="128267" y="240099"/>
                    <a:pt x="128267" y="240078"/>
                  </a:cubicBezTo>
                  <a:lnTo>
                    <a:pt x="128267" y="190315"/>
                  </a:lnTo>
                  <a:cubicBezTo>
                    <a:pt x="142325" y="187889"/>
                    <a:pt x="156196" y="186023"/>
                    <a:pt x="169633" y="184717"/>
                  </a:cubicBezTo>
                  <a:cubicBezTo>
                    <a:pt x="176674" y="184013"/>
                    <a:pt x="181812" y="177733"/>
                    <a:pt x="181109" y="170690"/>
                  </a:cubicBezTo>
                  <a:cubicBezTo>
                    <a:pt x="180406" y="163647"/>
                    <a:pt x="174124" y="158509"/>
                    <a:pt x="167082" y="159213"/>
                  </a:cubicBezTo>
                  <a:cubicBezTo>
                    <a:pt x="154641" y="160457"/>
                    <a:pt x="141392" y="162261"/>
                    <a:pt x="128267" y="164438"/>
                  </a:cubicBezTo>
                  <a:lnTo>
                    <a:pt x="128267" y="82267"/>
                  </a:lnTo>
                  <a:cubicBezTo>
                    <a:pt x="128267" y="75190"/>
                    <a:pt x="122532" y="69453"/>
                    <a:pt x="115453" y="69453"/>
                  </a:cubicBezTo>
                  <a:cubicBezTo>
                    <a:pt x="114936" y="69418"/>
                    <a:pt x="114414" y="69418"/>
                    <a:pt x="113898" y="69453"/>
                  </a:cubicBezTo>
                  <a:lnTo>
                    <a:pt x="113400" y="69453"/>
                  </a:lnTo>
                  <a:cubicBezTo>
                    <a:pt x="90266" y="66918"/>
                    <a:pt x="67494" y="61742"/>
                    <a:pt x="45535" y="54026"/>
                  </a:cubicBezTo>
                  <a:cubicBezTo>
                    <a:pt x="162647" y="16589"/>
                    <a:pt x="288442" y="16133"/>
                    <a:pt x="405821" y="52720"/>
                  </a:cubicBezTo>
                  <a:cubicBezTo>
                    <a:pt x="382781" y="61169"/>
                    <a:pt x="358801" y="66808"/>
                    <a:pt x="334411" y="69515"/>
                  </a:cubicBezTo>
                  <a:lnTo>
                    <a:pt x="333913" y="69515"/>
                  </a:lnTo>
                  <a:cubicBezTo>
                    <a:pt x="333397" y="69481"/>
                    <a:pt x="332875" y="69481"/>
                    <a:pt x="332358" y="69515"/>
                  </a:cubicBezTo>
                  <a:cubicBezTo>
                    <a:pt x="325410" y="69684"/>
                    <a:pt x="319880" y="75382"/>
                    <a:pt x="319917" y="82329"/>
                  </a:cubicBezTo>
                  <a:lnTo>
                    <a:pt x="319917" y="166180"/>
                  </a:lnTo>
                  <a:cubicBezTo>
                    <a:pt x="307477" y="164189"/>
                    <a:pt x="295036" y="162448"/>
                    <a:pt x="282595" y="161204"/>
                  </a:cubicBezTo>
                  <a:cubicBezTo>
                    <a:pt x="275554" y="160500"/>
                    <a:pt x="269271" y="165638"/>
                    <a:pt x="268568" y="172680"/>
                  </a:cubicBezTo>
                  <a:cubicBezTo>
                    <a:pt x="267865" y="179723"/>
                    <a:pt x="273003" y="186003"/>
                    <a:pt x="280045" y="186707"/>
                  </a:cubicBezTo>
                  <a:cubicBezTo>
                    <a:pt x="292983" y="187951"/>
                    <a:pt x="306295" y="189755"/>
                    <a:pt x="319855" y="192057"/>
                  </a:cubicBezTo>
                  <a:lnTo>
                    <a:pt x="319855" y="240078"/>
                  </a:lnTo>
                  <a:cubicBezTo>
                    <a:pt x="319495" y="246940"/>
                    <a:pt x="324763" y="252795"/>
                    <a:pt x="331624" y="253158"/>
                  </a:cubicBezTo>
                  <a:cubicBezTo>
                    <a:pt x="333795" y="253272"/>
                    <a:pt x="335954" y="252816"/>
                    <a:pt x="337895" y="251835"/>
                  </a:cubicBezTo>
                  <a:lnTo>
                    <a:pt x="355934" y="247481"/>
                  </a:lnTo>
                  <a:cubicBezTo>
                    <a:pt x="383988" y="240887"/>
                    <a:pt x="422368" y="231805"/>
                    <a:pt x="439723" y="225212"/>
                  </a:cubicBezTo>
                  <a:cubicBezTo>
                    <a:pt x="444699" y="223307"/>
                    <a:pt x="447989" y="218534"/>
                    <a:pt x="447996" y="213206"/>
                  </a:cubicBezTo>
                  <a:lnTo>
                    <a:pt x="447996" y="49361"/>
                  </a:lnTo>
                  <a:cubicBezTo>
                    <a:pt x="448002" y="43919"/>
                    <a:pt x="444556" y="39072"/>
                    <a:pt x="439412" y="37293"/>
                  </a:cubicBezTo>
                  <a:close/>
                  <a:moveTo>
                    <a:pt x="345235" y="93899"/>
                  </a:moveTo>
                  <a:cubicBezTo>
                    <a:pt x="371728" y="90699"/>
                    <a:pt x="397667" y="83962"/>
                    <a:pt x="422368" y="73869"/>
                  </a:cubicBezTo>
                  <a:lnTo>
                    <a:pt x="422368" y="204498"/>
                  </a:lnTo>
                  <a:cubicBezTo>
                    <a:pt x="404764" y="210718"/>
                    <a:pt x="368499" y="219800"/>
                    <a:pt x="345235" y="225585"/>
                  </a:cubicBezTo>
                  <a:close/>
                  <a:moveTo>
                    <a:pt x="102639" y="225398"/>
                  </a:moveTo>
                  <a:cubicBezTo>
                    <a:pt x="79437" y="219613"/>
                    <a:pt x="43234" y="210345"/>
                    <a:pt x="25630" y="204311"/>
                  </a:cubicBezTo>
                  <a:lnTo>
                    <a:pt x="25630" y="73683"/>
                  </a:lnTo>
                  <a:cubicBezTo>
                    <a:pt x="50282" y="83791"/>
                    <a:pt x="76183" y="90528"/>
                    <a:pt x="102639" y="93712"/>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3" name="Google Shape;27595;p256">
              <a:extLst>
                <a:ext uri="{FF2B5EF4-FFF2-40B4-BE49-F238E27FC236}">
                  <a16:creationId xmlns:a16="http://schemas.microsoft.com/office/drawing/2014/main" id="{430505B3-B081-DF55-E170-FD2353BD3B2B}"/>
                </a:ext>
              </a:extLst>
            </p:cNvPr>
            <p:cNvSpPr/>
            <p:nvPr/>
          </p:nvSpPr>
          <p:spPr>
            <a:xfrm>
              <a:off x="4107958" y="1330598"/>
              <a:ext cx="133987" cy="133987"/>
            </a:xfrm>
            <a:custGeom>
              <a:avLst/>
              <a:gdLst/>
              <a:ahLst/>
              <a:cxnLst/>
              <a:rect l="l" t="t" r="r" b="b"/>
              <a:pathLst>
                <a:path w="133987" h="133987" extrusionOk="0">
                  <a:moveTo>
                    <a:pt x="66932" y="133988"/>
                  </a:moveTo>
                  <a:cubicBezTo>
                    <a:pt x="103931" y="134022"/>
                    <a:pt x="133950" y="104056"/>
                    <a:pt x="133987" y="67056"/>
                  </a:cubicBezTo>
                  <a:cubicBezTo>
                    <a:pt x="134019" y="30056"/>
                    <a:pt x="104055" y="34"/>
                    <a:pt x="67056" y="0"/>
                  </a:cubicBezTo>
                  <a:cubicBezTo>
                    <a:pt x="30057" y="-34"/>
                    <a:pt x="31" y="29932"/>
                    <a:pt x="0" y="66932"/>
                  </a:cubicBezTo>
                  <a:cubicBezTo>
                    <a:pt x="0" y="66952"/>
                    <a:pt x="0" y="66973"/>
                    <a:pt x="0" y="66994"/>
                  </a:cubicBezTo>
                  <a:cubicBezTo>
                    <a:pt x="0" y="103969"/>
                    <a:pt x="29957" y="133953"/>
                    <a:pt x="66932" y="133988"/>
                  </a:cubicBezTo>
                  <a:close/>
                  <a:moveTo>
                    <a:pt x="66932" y="25504"/>
                  </a:moveTo>
                  <a:cubicBezTo>
                    <a:pt x="89879" y="25538"/>
                    <a:pt x="108459" y="44169"/>
                    <a:pt x="108422" y="67118"/>
                  </a:cubicBezTo>
                  <a:cubicBezTo>
                    <a:pt x="108384" y="90067"/>
                    <a:pt x="89754" y="108643"/>
                    <a:pt x="66807" y="108608"/>
                  </a:cubicBezTo>
                  <a:cubicBezTo>
                    <a:pt x="43860" y="108574"/>
                    <a:pt x="25286" y="89943"/>
                    <a:pt x="25317" y="66994"/>
                  </a:cubicBezTo>
                  <a:cubicBezTo>
                    <a:pt x="25348" y="44045"/>
                    <a:pt x="43984" y="25469"/>
                    <a:pt x="66932" y="25504"/>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4" name="Google Shape;27596;p256">
              <a:extLst>
                <a:ext uri="{FF2B5EF4-FFF2-40B4-BE49-F238E27FC236}">
                  <a16:creationId xmlns:a16="http://schemas.microsoft.com/office/drawing/2014/main" id="{9A588F62-E215-DC64-1266-182B8F6BA2D8}"/>
                </a:ext>
              </a:extLst>
            </p:cNvPr>
            <p:cNvSpPr/>
            <p:nvPr/>
          </p:nvSpPr>
          <p:spPr>
            <a:xfrm>
              <a:off x="4014385" y="1508067"/>
              <a:ext cx="321147" cy="110040"/>
            </a:xfrm>
            <a:custGeom>
              <a:avLst/>
              <a:gdLst/>
              <a:ahLst/>
              <a:cxnLst/>
              <a:rect l="l" t="t" r="r" b="b"/>
              <a:pathLst>
                <a:path w="321147" h="110040" extrusionOk="0">
                  <a:moveTo>
                    <a:pt x="314832" y="60836"/>
                  </a:moveTo>
                  <a:lnTo>
                    <a:pt x="314832" y="60836"/>
                  </a:lnTo>
                  <a:cubicBezTo>
                    <a:pt x="286592" y="23886"/>
                    <a:pt x="226005" y="0"/>
                    <a:pt x="160504" y="0"/>
                  </a:cubicBezTo>
                  <a:cubicBezTo>
                    <a:pt x="95003" y="0"/>
                    <a:pt x="34416" y="23886"/>
                    <a:pt x="6176" y="60836"/>
                  </a:cubicBezTo>
                  <a:cubicBezTo>
                    <a:pt x="-4026" y="74396"/>
                    <a:pt x="-1307" y="93661"/>
                    <a:pt x="12253" y="103866"/>
                  </a:cubicBezTo>
                  <a:cubicBezTo>
                    <a:pt x="17671" y="107941"/>
                    <a:pt x="24277" y="110111"/>
                    <a:pt x="31057" y="110039"/>
                  </a:cubicBezTo>
                  <a:lnTo>
                    <a:pt x="290635" y="110039"/>
                  </a:lnTo>
                  <a:cubicBezTo>
                    <a:pt x="302261" y="109967"/>
                    <a:pt x="312842" y="103315"/>
                    <a:pt x="317943" y="92871"/>
                  </a:cubicBezTo>
                  <a:cubicBezTo>
                    <a:pt x="323149" y="82482"/>
                    <a:pt x="321942" y="70029"/>
                    <a:pt x="314832" y="60836"/>
                  </a:cubicBezTo>
                  <a:close/>
                  <a:moveTo>
                    <a:pt x="295114" y="81550"/>
                  </a:moveTo>
                  <a:cubicBezTo>
                    <a:pt x="294255" y="83420"/>
                    <a:pt x="292383" y="84613"/>
                    <a:pt x="290324" y="84598"/>
                  </a:cubicBezTo>
                  <a:lnTo>
                    <a:pt x="30746" y="84598"/>
                  </a:lnTo>
                  <a:cubicBezTo>
                    <a:pt x="28687" y="84613"/>
                    <a:pt x="26815" y="83420"/>
                    <a:pt x="25957" y="81550"/>
                  </a:cubicBezTo>
                  <a:cubicBezTo>
                    <a:pt x="24986" y="79868"/>
                    <a:pt x="25160" y="77763"/>
                    <a:pt x="26392" y="76262"/>
                  </a:cubicBezTo>
                  <a:cubicBezTo>
                    <a:pt x="50030" y="45160"/>
                    <a:pt x="102654" y="25441"/>
                    <a:pt x="160504" y="25441"/>
                  </a:cubicBezTo>
                  <a:cubicBezTo>
                    <a:pt x="218354" y="25441"/>
                    <a:pt x="271041" y="45409"/>
                    <a:pt x="294616" y="76262"/>
                  </a:cubicBezTo>
                  <a:cubicBezTo>
                    <a:pt x="295848" y="77756"/>
                    <a:pt x="296047" y="79851"/>
                    <a:pt x="295114" y="81550"/>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35" name="Google Shape;27148;p252">
            <a:extLst>
              <a:ext uri="{FF2B5EF4-FFF2-40B4-BE49-F238E27FC236}">
                <a16:creationId xmlns:a16="http://schemas.microsoft.com/office/drawing/2014/main" id="{B7FB96D6-A92C-8975-6E6C-D26C831831E0}"/>
              </a:ext>
            </a:extLst>
          </p:cNvPr>
          <p:cNvSpPr/>
          <p:nvPr/>
        </p:nvSpPr>
        <p:spPr>
          <a:xfrm>
            <a:off x="5567817" y="4214023"/>
            <a:ext cx="468000" cy="468000"/>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00808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36" name="Google Shape;26484;p246">
            <a:extLst>
              <a:ext uri="{FF2B5EF4-FFF2-40B4-BE49-F238E27FC236}">
                <a16:creationId xmlns:a16="http://schemas.microsoft.com/office/drawing/2014/main" id="{4FEB6CC1-D65B-8C46-B9BC-E5EAE597C4E5}"/>
              </a:ext>
            </a:extLst>
          </p:cNvPr>
          <p:cNvGrpSpPr/>
          <p:nvPr/>
        </p:nvGrpSpPr>
        <p:grpSpPr>
          <a:xfrm>
            <a:off x="1995556" y="2313920"/>
            <a:ext cx="468000" cy="468000"/>
            <a:chOff x="5230647" y="1187703"/>
            <a:chExt cx="448483" cy="419691"/>
          </a:xfrm>
          <a:solidFill>
            <a:schemeClr val="accent3">
              <a:lumMod val="75000"/>
            </a:schemeClr>
          </a:solidFill>
        </p:grpSpPr>
        <p:sp>
          <p:nvSpPr>
            <p:cNvPr id="37" name="Google Shape;26485;p246">
              <a:extLst>
                <a:ext uri="{FF2B5EF4-FFF2-40B4-BE49-F238E27FC236}">
                  <a16:creationId xmlns:a16="http://schemas.microsoft.com/office/drawing/2014/main" id="{8CF393C9-831E-0C15-B445-8061332CCC18}"/>
                </a:ext>
              </a:extLst>
            </p:cNvPr>
            <p:cNvSpPr/>
            <p:nvPr/>
          </p:nvSpPr>
          <p:spPr>
            <a:xfrm>
              <a:off x="5546758" y="1428247"/>
              <a:ext cx="132372" cy="55983"/>
            </a:xfrm>
            <a:custGeom>
              <a:avLst/>
              <a:gdLst/>
              <a:ahLst/>
              <a:cxnLst/>
              <a:rect l="l" t="t" r="r" b="b"/>
              <a:pathLst>
                <a:path w="132372" h="55983" extrusionOk="0">
                  <a:moveTo>
                    <a:pt x="112403" y="55984"/>
                  </a:moveTo>
                  <a:lnTo>
                    <a:pt x="19408" y="55984"/>
                  </a:lnTo>
                  <a:cubicBezTo>
                    <a:pt x="8721" y="56019"/>
                    <a:pt x="31" y="47386"/>
                    <a:pt x="0" y="36702"/>
                  </a:cubicBezTo>
                  <a:cubicBezTo>
                    <a:pt x="-12" y="32430"/>
                    <a:pt x="1387" y="28274"/>
                    <a:pt x="3981" y="24882"/>
                  </a:cubicBezTo>
                  <a:cubicBezTo>
                    <a:pt x="15800" y="9393"/>
                    <a:pt x="39500" y="0"/>
                    <a:pt x="66185" y="0"/>
                  </a:cubicBezTo>
                  <a:cubicBezTo>
                    <a:pt x="92871" y="0"/>
                    <a:pt x="116322" y="9579"/>
                    <a:pt x="128389" y="24882"/>
                  </a:cubicBezTo>
                  <a:cubicBezTo>
                    <a:pt x="134884" y="33366"/>
                    <a:pt x="133266" y="45509"/>
                    <a:pt x="124781" y="52001"/>
                  </a:cubicBezTo>
                  <a:cubicBezTo>
                    <a:pt x="121391" y="54598"/>
                    <a:pt x="117236" y="55998"/>
                    <a:pt x="112963" y="55984"/>
                  </a:cubicBezTo>
                  <a:close/>
                  <a:moveTo>
                    <a:pt x="65874" y="18661"/>
                  </a:moveTo>
                  <a:cubicBezTo>
                    <a:pt x="45534" y="18661"/>
                    <a:pt x="27059" y="25628"/>
                    <a:pt x="18848" y="36327"/>
                  </a:cubicBezTo>
                  <a:cubicBezTo>
                    <a:pt x="18848" y="36327"/>
                    <a:pt x="18848" y="36327"/>
                    <a:pt x="18848" y="36887"/>
                  </a:cubicBezTo>
                  <a:cubicBezTo>
                    <a:pt x="18910" y="37138"/>
                    <a:pt x="19153" y="37300"/>
                    <a:pt x="19408" y="37260"/>
                  </a:cubicBezTo>
                  <a:lnTo>
                    <a:pt x="112403" y="37260"/>
                  </a:lnTo>
                  <a:cubicBezTo>
                    <a:pt x="112403" y="37260"/>
                    <a:pt x="112776" y="37260"/>
                    <a:pt x="112963" y="36887"/>
                  </a:cubicBezTo>
                  <a:cubicBezTo>
                    <a:pt x="113149" y="36514"/>
                    <a:pt x="112963" y="36514"/>
                    <a:pt x="112963" y="36327"/>
                  </a:cubicBezTo>
                  <a:cubicBezTo>
                    <a:pt x="104752" y="25566"/>
                    <a:pt x="86277" y="18599"/>
                    <a:pt x="65874" y="18599"/>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8" name="Google Shape;26486;p246">
              <a:extLst>
                <a:ext uri="{FF2B5EF4-FFF2-40B4-BE49-F238E27FC236}">
                  <a16:creationId xmlns:a16="http://schemas.microsoft.com/office/drawing/2014/main" id="{A5C7F69C-F0A3-5E70-906E-D2FA6D9628AA}"/>
                </a:ext>
              </a:extLst>
            </p:cNvPr>
            <p:cNvSpPr/>
            <p:nvPr/>
          </p:nvSpPr>
          <p:spPr>
            <a:xfrm>
              <a:off x="5580286" y="1353788"/>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23"/>
                  </a:moveTo>
                  <a:cubicBezTo>
                    <a:pt x="24819" y="18724"/>
                    <a:pt x="18723" y="24823"/>
                    <a:pt x="18723" y="32347"/>
                  </a:cubicBezTo>
                  <a:cubicBezTo>
                    <a:pt x="18723" y="39870"/>
                    <a:pt x="24825" y="45969"/>
                    <a:pt x="32346" y="45969"/>
                  </a:cubicBezTo>
                  <a:cubicBezTo>
                    <a:pt x="39823" y="45968"/>
                    <a:pt x="45900" y="39945"/>
                    <a:pt x="45969" y="32471"/>
                  </a:cubicBezTo>
                  <a:cubicBezTo>
                    <a:pt x="46037" y="24947"/>
                    <a:pt x="39997" y="18792"/>
                    <a:pt x="32470" y="18724"/>
                  </a:cubicBezTo>
                  <a:cubicBezTo>
                    <a:pt x="32427" y="18723"/>
                    <a:pt x="32389" y="18723"/>
                    <a:pt x="32346" y="18723"/>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Google Shape;26487;p246">
              <a:extLst>
                <a:ext uri="{FF2B5EF4-FFF2-40B4-BE49-F238E27FC236}">
                  <a16:creationId xmlns:a16="http://schemas.microsoft.com/office/drawing/2014/main" id="{7BDC83DD-328B-B545-43A9-7F5B51128449}"/>
                </a:ext>
              </a:extLst>
            </p:cNvPr>
            <p:cNvSpPr/>
            <p:nvPr/>
          </p:nvSpPr>
          <p:spPr>
            <a:xfrm>
              <a:off x="5230647" y="1428247"/>
              <a:ext cx="132349" cy="55988"/>
            </a:xfrm>
            <a:custGeom>
              <a:avLst/>
              <a:gdLst/>
              <a:ahLst/>
              <a:cxnLst/>
              <a:rect l="l" t="t" r="r" b="b"/>
              <a:pathLst>
                <a:path w="132349" h="55988" extrusionOk="0">
                  <a:moveTo>
                    <a:pt x="112517" y="55984"/>
                  </a:moveTo>
                  <a:lnTo>
                    <a:pt x="19211" y="55984"/>
                  </a:lnTo>
                  <a:cubicBezTo>
                    <a:pt x="11883" y="55911"/>
                    <a:pt x="5233" y="51693"/>
                    <a:pt x="2042" y="45098"/>
                  </a:cubicBezTo>
                  <a:cubicBezTo>
                    <a:pt x="-1261" y="38550"/>
                    <a:pt x="-514" y="30686"/>
                    <a:pt x="3971" y="24882"/>
                  </a:cubicBezTo>
                  <a:cubicBezTo>
                    <a:pt x="15790" y="9393"/>
                    <a:pt x="39552" y="0"/>
                    <a:pt x="66175" y="0"/>
                  </a:cubicBezTo>
                  <a:cubicBezTo>
                    <a:pt x="92798" y="0"/>
                    <a:pt x="116311" y="9579"/>
                    <a:pt x="128379" y="24882"/>
                  </a:cubicBezTo>
                  <a:cubicBezTo>
                    <a:pt x="132864" y="30686"/>
                    <a:pt x="133610" y="38550"/>
                    <a:pt x="130307" y="45098"/>
                  </a:cubicBezTo>
                  <a:cubicBezTo>
                    <a:pt x="127023" y="51897"/>
                    <a:pt x="120068" y="56152"/>
                    <a:pt x="112517" y="55984"/>
                  </a:cubicBezTo>
                  <a:close/>
                  <a:moveTo>
                    <a:pt x="65988" y="18661"/>
                  </a:moveTo>
                  <a:cubicBezTo>
                    <a:pt x="45585" y="18661"/>
                    <a:pt x="27173" y="25628"/>
                    <a:pt x="18900" y="36327"/>
                  </a:cubicBezTo>
                  <a:cubicBezTo>
                    <a:pt x="18900" y="36327"/>
                    <a:pt x="18900" y="36327"/>
                    <a:pt x="18900" y="36887"/>
                  </a:cubicBezTo>
                  <a:cubicBezTo>
                    <a:pt x="18900" y="37447"/>
                    <a:pt x="19273" y="37260"/>
                    <a:pt x="19459" y="37260"/>
                  </a:cubicBezTo>
                  <a:lnTo>
                    <a:pt x="112765" y="37260"/>
                  </a:lnTo>
                  <a:cubicBezTo>
                    <a:pt x="113015" y="37275"/>
                    <a:pt x="113245" y="37122"/>
                    <a:pt x="113325" y="36887"/>
                  </a:cubicBezTo>
                  <a:cubicBezTo>
                    <a:pt x="113450" y="36745"/>
                    <a:pt x="113450" y="36531"/>
                    <a:pt x="113325" y="36389"/>
                  </a:cubicBezTo>
                  <a:cubicBezTo>
                    <a:pt x="104804" y="25566"/>
                    <a:pt x="86329" y="18599"/>
                    <a:pt x="65988" y="18599"/>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0" name="Google Shape;26488;p246">
              <a:extLst>
                <a:ext uri="{FF2B5EF4-FFF2-40B4-BE49-F238E27FC236}">
                  <a16:creationId xmlns:a16="http://schemas.microsoft.com/office/drawing/2014/main" id="{D4367A75-DEA0-0680-AD31-DC613B3B41C4}"/>
                </a:ext>
              </a:extLst>
            </p:cNvPr>
            <p:cNvSpPr/>
            <p:nvPr/>
          </p:nvSpPr>
          <p:spPr>
            <a:xfrm>
              <a:off x="5264289" y="1353788"/>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23"/>
                  </a:moveTo>
                  <a:cubicBezTo>
                    <a:pt x="24825" y="18689"/>
                    <a:pt x="18698" y="24761"/>
                    <a:pt x="18661" y="32285"/>
                  </a:cubicBezTo>
                  <a:cubicBezTo>
                    <a:pt x="18630" y="39808"/>
                    <a:pt x="24701" y="45935"/>
                    <a:pt x="32222" y="45969"/>
                  </a:cubicBezTo>
                  <a:cubicBezTo>
                    <a:pt x="39723" y="46002"/>
                    <a:pt x="45838" y="39969"/>
                    <a:pt x="45907" y="32471"/>
                  </a:cubicBezTo>
                  <a:cubicBezTo>
                    <a:pt x="45975" y="24947"/>
                    <a:pt x="39935" y="18792"/>
                    <a:pt x="32408" y="18724"/>
                  </a:cubicBezTo>
                  <a:cubicBezTo>
                    <a:pt x="32389" y="18723"/>
                    <a:pt x="32365" y="18723"/>
                    <a:pt x="32346" y="18723"/>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1" name="Google Shape;26489;p246">
              <a:extLst>
                <a:ext uri="{FF2B5EF4-FFF2-40B4-BE49-F238E27FC236}">
                  <a16:creationId xmlns:a16="http://schemas.microsoft.com/office/drawing/2014/main" id="{A550C58A-DE52-1C7B-90F1-57C85EEA4020}"/>
                </a:ext>
              </a:extLst>
            </p:cNvPr>
            <p:cNvSpPr/>
            <p:nvPr/>
          </p:nvSpPr>
          <p:spPr>
            <a:xfrm>
              <a:off x="5385774" y="1262162"/>
              <a:ext cx="132372" cy="55983"/>
            </a:xfrm>
            <a:custGeom>
              <a:avLst/>
              <a:gdLst/>
              <a:ahLst/>
              <a:cxnLst/>
              <a:rect l="l" t="t" r="r" b="b"/>
              <a:pathLst>
                <a:path w="132372" h="55983" extrusionOk="0">
                  <a:moveTo>
                    <a:pt x="112714" y="55984"/>
                  </a:moveTo>
                  <a:lnTo>
                    <a:pt x="19408" y="55984"/>
                  </a:lnTo>
                  <a:cubicBezTo>
                    <a:pt x="8721" y="56019"/>
                    <a:pt x="31" y="47386"/>
                    <a:pt x="0" y="36702"/>
                  </a:cubicBezTo>
                  <a:cubicBezTo>
                    <a:pt x="-12" y="32430"/>
                    <a:pt x="1387" y="28274"/>
                    <a:pt x="3981" y="24882"/>
                  </a:cubicBezTo>
                  <a:cubicBezTo>
                    <a:pt x="15800" y="9393"/>
                    <a:pt x="39562" y="0"/>
                    <a:pt x="66185" y="0"/>
                  </a:cubicBezTo>
                  <a:cubicBezTo>
                    <a:pt x="92809" y="0"/>
                    <a:pt x="116322" y="9579"/>
                    <a:pt x="128389" y="24882"/>
                  </a:cubicBezTo>
                  <a:cubicBezTo>
                    <a:pt x="134884" y="33366"/>
                    <a:pt x="133266" y="45509"/>
                    <a:pt x="124781" y="52001"/>
                  </a:cubicBezTo>
                  <a:cubicBezTo>
                    <a:pt x="121391" y="54598"/>
                    <a:pt x="117236" y="55997"/>
                    <a:pt x="112963" y="55984"/>
                  </a:cubicBezTo>
                  <a:close/>
                  <a:moveTo>
                    <a:pt x="66185" y="18661"/>
                  </a:moveTo>
                  <a:cubicBezTo>
                    <a:pt x="45844" y="18661"/>
                    <a:pt x="27370" y="25628"/>
                    <a:pt x="19159" y="36389"/>
                  </a:cubicBezTo>
                  <a:cubicBezTo>
                    <a:pt x="19159" y="36389"/>
                    <a:pt x="19159" y="36389"/>
                    <a:pt x="19159" y="36949"/>
                  </a:cubicBezTo>
                  <a:cubicBezTo>
                    <a:pt x="19240" y="37184"/>
                    <a:pt x="19470" y="37337"/>
                    <a:pt x="19719" y="37322"/>
                  </a:cubicBezTo>
                  <a:lnTo>
                    <a:pt x="113025" y="37322"/>
                  </a:lnTo>
                  <a:cubicBezTo>
                    <a:pt x="113274" y="37337"/>
                    <a:pt x="113504" y="37184"/>
                    <a:pt x="113585" y="36949"/>
                  </a:cubicBezTo>
                  <a:cubicBezTo>
                    <a:pt x="113585" y="36638"/>
                    <a:pt x="113585" y="36514"/>
                    <a:pt x="113585" y="36389"/>
                  </a:cubicBezTo>
                  <a:cubicBezTo>
                    <a:pt x="105001" y="25566"/>
                    <a:pt x="86526" y="18350"/>
                    <a:pt x="66185" y="18350"/>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2" name="Google Shape;26490;p246">
              <a:extLst>
                <a:ext uri="{FF2B5EF4-FFF2-40B4-BE49-F238E27FC236}">
                  <a16:creationId xmlns:a16="http://schemas.microsoft.com/office/drawing/2014/main" id="{53247CCC-4B48-C16A-A2AF-C92CA1209F65}"/>
                </a:ext>
              </a:extLst>
            </p:cNvPr>
            <p:cNvSpPr/>
            <p:nvPr/>
          </p:nvSpPr>
          <p:spPr>
            <a:xfrm>
              <a:off x="5419613" y="1187703"/>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50211"/>
                    <a:pt x="50211" y="64692"/>
                    <a:pt x="32346" y="64692"/>
                  </a:cubicBezTo>
                  <a:close/>
                  <a:moveTo>
                    <a:pt x="32346" y="18786"/>
                  </a:moveTo>
                  <a:cubicBezTo>
                    <a:pt x="24819" y="18786"/>
                    <a:pt x="18723" y="24885"/>
                    <a:pt x="18723" y="32408"/>
                  </a:cubicBezTo>
                  <a:cubicBezTo>
                    <a:pt x="18723" y="39932"/>
                    <a:pt x="24826" y="46031"/>
                    <a:pt x="32346" y="46031"/>
                  </a:cubicBezTo>
                  <a:cubicBezTo>
                    <a:pt x="39873" y="46031"/>
                    <a:pt x="45969" y="39932"/>
                    <a:pt x="45969" y="32408"/>
                  </a:cubicBezTo>
                  <a:cubicBezTo>
                    <a:pt x="45969" y="32388"/>
                    <a:pt x="45969" y="32367"/>
                    <a:pt x="45969" y="32346"/>
                  </a:cubicBezTo>
                  <a:cubicBezTo>
                    <a:pt x="45938" y="24847"/>
                    <a:pt x="39848" y="18786"/>
                    <a:pt x="32346" y="18786"/>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3" name="Google Shape;26491;p246">
              <a:extLst>
                <a:ext uri="{FF2B5EF4-FFF2-40B4-BE49-F238E27FC236}">
                  <a16:creationId xmlns:a16="http://schemas.microsoft.com/office/drawing/2014/main" id="{F6AC29EA-60A1-5BB3-8A54-6C020C8EE477}"/>
                </a:ext>
              </a:extLst>
            </p:cNvPr>
            <p:cNvSpPr/>
            <p:nvPr/>
          </p:nvSpPr>
          <p:spPr>
            <a:xfrm>
              <a:off x="5391123" y="1551411"/>
              <a:ext cx="132372" cy="55983"/>
            </a:xfrm>
            <a:custGeom>
              <a:avLst/>
              <a:gdLst/>
              <a:ahLst/>
              <a:cxnLst/>
              <a:rect l="l" t="t" r="r" b="b"/>
              <a:pathLst>
                <a:path w="132372" h="55983" extrusionOk="0">
                  <a:moveTo>
                    <a:pt x="112714" y="55984"/>
                  </a:moveTo>
                  <a:lnTo>
                    <a:pt x="19408" y="55984"/>
                  </a:lnTo>
                  <a:cubicBezTo>
                    <a:pt x="8721" y="56019"/>
                    <a:pt x="31" y="47386"/>
                    <a:pt x="0" y="36702"/>
                  </a:cubicBezTo>
                  <a:cubicBezTo>
                    <a:pt x="-12" y="32430"/>
                    <a:pt x="1387" y="28274"/>
                    <a:pt x="3981" y="24882"/>
                  </a:cubicBezTo>
                  <a:cubicBezTo>
                    <a:pt x="15800" y="9455"/>
                    <a:pt x="39562" y="0"/>
                    <a:pt x="66185" y="0"/>
                  </a:cubicBezTo>
                  <a:cubicBezTo>
                    <a:pt x="92809" y="0"/>
                    <a:pt x="116322" y="9642"/>
                    <a:pt x="128389" y="24882"/>
                  </a:cubicBezTo>
                  <a:cubicBezTo>
                    <a:pt x="134884" y="33366"/>
                    <a:pt x="133266" y="45508"/>
                    <a:pt x="124782" y="52001"/>
                  </a:cubicBezTo>
                  <a:cubicBezTo>
                    <a:pt x="121391" y="54598"/>
                    <a:pt x="117236" y="55998"/>
                    <a:pt x="112963" y="55984"/>
                  </a:cubicBezTo>
                  <a:close/>
                  <a:moveTo>
                    <a:pt x="66185" y="18661"/>
                  </a:moveTo>
                  <a:cubicBezTo>
                    <a:pt x="45845" y="18661"/>
                    <a:pt x="27370" y="25566"/>
                    <a:pt x="19159" y="36327"/>
                  </a:cubicBezTo>
                  <a:cubicBezTo>
                    <a:pt x="19159" y="36327"/>
                    <a:pt x="19159" y="36327"/>
                    <a:pt x="19159" y="36887"/>
                  </a:cubicBezTo>
                  <a:cubicBezTo>
                    <a:pt x="19240" y="37122"/>
                    <a:pt x="19470" y="37275"/>
                    <a:pt x="19719" y="37260"/>
                  </a:cubicBezTo>
                  <a:lnTo>
                    <a:pt x="113025" y="37260"/>
                  </a:lnTo>
                  <a:cubicBezTo>
                    <a:pt x="113274" y="37275"/>
                    <a:pt x="113504" y="37122"/>
                    <a:pt x="113585" y="36887"/>
                  </a:cubicBezTo>
                  <a:cubicBezTo>
                    <a:pt x="113722" y="36725"/>
                    <a:pt x="113722" y="36489"/>
                    <a:pt x="113585" y="36327"/>
                  </a:cubicBezTo>
                  <a:cubicBezTo>
                    <a:pt x="105001" y="25566"/>
                    <a:pt x="86526" y="18661"/>
                    <a:pt x="66185" y="18661"/>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4" name="Google Shape;26492;p246">
              <a:extLst>
                <a:ext uri="{FF2B5EF4-FFF2-40B4-BE49-F238E27FC236}">
                  <a16:creationId xmlns:a16="http://schemas.microsoft.com/office/drawing/2014/main" id="{99BF7C8A-2E4A-9DF4-D0C5-B9B383182B0D}"/>
                </a:ext>
              </a:extLst>
            </p:cNvPr>
            <p:cNvSpPr/>
            <p:nvPr/>
          </p:nvSpPr>
          <p:spPr>
            <a:xfrm>
              <a:off x="5424962" y="1477077"/>
              <a:ext cx="64692" cy="64692"/>
            </a:xfrm>
            <a:custGeom>
              <a:avLst/>
              <a:gdLst/>
              <a:ahLst/>
              <a:cxnLst/>
              <a:rect l="l" t="t" r="r" b="b"/>
              <a:pathLst>
                <a:path w="64692" h="64692" extrusionOk="0">
                  <a:moveTo>
                    <a:pt x="32346" y="64692"/>
                  </a:moveTo>
                  <a:cubicBezTo>
                    <a:pt x="14481" y="64692"/>
                    <a:pt x="0" y="50211"/>
                    <a:pt x="0" y="32346"/>
                  </a:cubicBezTo>
                  <a:cubicBezTo>
                    <a:pt x="0" y="14482"/>
                    <a:pt x="14481" y="0"/>
                    <a:pt x="32346" y="0"/>
                  </a:cubicBezTo>
                  <a:cubicBezTo>
                    <a:pt x="50211" y="0"/>
                    <a:pt x="64692" y="14482"/>
                    <a:pt x="64692" y="32346"/>
                  </a:cubicBezTo>
                  <a:cubicBezTo>
                    <a:pt x="64692" y="32367"/>
                    <a:pt x="64692" y="32388"/>
                    <a:pt x="64692" y="32408"/>
                  </a:cubicBezTo>
                  <a:cubicBezTo>
                    <a:pt x="64661" y="50248"/>
                    <a:pt x="50187" y="64692"/>
                    <a:pt x="32346" y="64692"/>
                  </a:cubicBezTo>
                  <a:close/>
                  <a:moveTo>
                    <a:pt x="32346" y="18786"/>
                  </a:moveTo>
                  <a:cubicBezTo>
                    <a:pt x="24820" y="18786"/>
                    <a:pt x="18723" y="24885"/>
                    <a:pt x="18723" y="32408"/>
                  </a:cubicBezTo>
                  <a:cubicBezTo>
                    <a:pt x="18723" y="39932"/>
                    <a:pt x="24820" y="46031"/>
                    <a:pt x="32346" y="46031"/>
                  </a:cubicBezTo>
                  <a:cubicBezTo>
                    <a:pt x="39873" y="46031"/>
                    <a:pt x="45969" y="39932"/>
                    <a:pt x="45969" y="32408"/>
                  </a:cubicBezTo>
                  <a:cubicBezTo>
                    <a:pt x="46037" y="24885"/>
                    <a:pt x="39998" y="18730"/>
                    <a:pt x="32471" y="18662"/>
                  </a:cubicBezTo>
                  <a:cubicBezTo>
                    <a:pt x="32427" y="18661"/>
                    <a:pt x="32390" y="18661"/>
                    <a:pt x="32346" y="18661"/>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5" name="Google Shape;26493;p246">
              <a:extLst>
                <a:ext uri="{FF2B5EF4-FFF2-40B4-BE49-F238E27FC236}">
                  <a16:creationId xmlns:a16="http://schemas.microsoft.com/office/drawing/2014/main" id="{2F82332D-9973-C073-8962-BF4D5DE79CCF}"/>
                </a:ext>
              </a:extLst>
            </p:cNvPr>
            <p:cNvSpPr/>
            <p:nvPr/>
          </p:nvSpPr>
          <p:spPr>
            <a:xfrm>
              <a:off x="5297742" y="1263884"/>
              <a:ext cx="64000" cy="70745"/>
            </a:xfrm>
            <a:custGeom>
              <a:avLst/>
              <a:gdLst/>
              <a:ahLst/>
              <a:cxnLst/>
              <a:rect l="l" t="t" r="r" b="b"/>
              <a:pathLst>
                <a:path w="64000" h="70745" extrusionOk="0">
                  <a:moveTo>
                    <a:pt x="9219" y="70745"/>
                  </a:moveTo>
                  <a:cubicBezTo>
                    <a:pt x="7608" y="70744"/>
                    <a:pt x="6028" y="70338"/>
                    <a:pt x="4616" y="69563"/>
                  </a:cubicBezTo>
                  <a:cubicBezTo>
                    <a:pt x="311" y="67020"/>
                    <a:pt x="-1244" y="61552"/>
                    <a:pt x="1070" y="57122"/>
                  </a:cubicBezTo>
                  <a:cubicBezTo>
                    <a:pt x="12802" y="36115"/>
                    <a:pt x="28676" y="17705"/>
                    <a:pt x="47723" y="3005"/>
                  </a:cubicBezTo>
                  <a:cubicBezTo>
                    <a:pt x="51250" y="-798"/>
                    <a:pt x="57197" y="-1021"/>
                    <a:pt x="60997" y="2507"/>
                  </a:cubicBezTo>
                  <a:cubicBezTo>
                    <a:pt x="64798" y="6035"/>
                    <a:pt x="65022" y="11978"/>
                    <a:pt x="61495" y="15781"/>
                  </a:cubicBezTo>
                  <a:cubicBezTo>
                    <a:pt x="60873" y="16455"/>
                    <a:pt x="60151" y="17034"/>
                    <a:pt x="59355" y="17498"/>
                  </a:cubicBezTo>
                  <a:cubicBezTo>
                    <a:pt x="42274" y="30646"/>
                    <a:pt x="28054" y="47133"/>
                    <a:pt x="17554" y="65955"/>
                  </a:cubicBezTo>
                  <a:cubicBezTo>
                    <a:pt x="15856" y="68950"/>
                    <a:pt x="12665" y="70785"/>
                    <a:pt x="9219" y="70745"/>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46" name="Google Shape;26494;p246">
              <a:extLst>
                <a:ext uri="{FF2B5EF4-FFF2-40B4-BE49-F238E27FC236}">
                  <a16:creationId xmlns:a16="http://schemas.microsoft.com/office/drawing/2014/main" id="{9D533D50-85AB-045D-8378-9F7D1E9EB208}"/>
                </a:ext>
              </a:extLst>
            </p:cNvPr>
            <p:cNvSpPr/>
            <p:nvPr/>
          </p:nvSpPr>
          <p:spPr>
            <a:xfrm>
              <a:off x="5548723" y="1264624"/>
              <a:ext cx="62871" cy="70005"/>
            </a:xfrm>
            <a:custGeom>
              <a:avLst/>
              <a:gdLst/>
              <a:ahLst/>
              <a:cxnLst/>
              <a:rect l="l" t="t" r="r" b="b"/>
              <a:pathLst>
                <a:path w="62871" h="70005" extrusionOk="0">
                  <a:moveTo>
                    <a:pt x="53646" y="70006"/>
                  </a:moveTo>
                  <a:cubicBezTo>
                    <a:pt x="50249" y="70002"/>
                    <a:pt x="47114" y="68173"/>
                    <a:pt x="45435" y="65216"/>
                  </a:cubicBezTo>
                  <a:cubicBezTo>
                    <a:pt x="34935" y="46394"/>
                    <a:pt x="20715" y="29906"/>
                    <a:pt x="3634" y="16759"/>
                  </a:cubicBezTo>
                  <a:cubicBezTo>
                    <a:pt x="-453" y="13599"/>
                    <a:pt x="-1206" y="7722"/>
                    <a:pt x="1954" y="3634"/>
                  </a:cubicBezTo>
                  <a:cubicBezTo>
                    <a:pt x="5114" y="-454"/>
                    <a:pt x="10992" y="-1206"/>
                    <a:pt x="15079" y="1955"/>
                  </a:cubicBezTo>
                  <a:cubicBezTo>
                    <a:pt x="34145" y="16652"/>
                    <a:pt x="50038" y="35061"/>
                    <a:pt x="61794" y="56072"/>
                  </a:cubicBezTo>
                  <a:cubicBezTo>
                    <a:pt x="64133" y="60514"/>
                    <a:pt x="62541" y="66012"/>
                    <a:pt x="58186" y="68513"/>
                  </a:cubicBezTo>
                  <a:cubicBezTo>
                    <a:pt x="56831" y="69404"/>
                    <a:pt x="55263" y="69919"/>
                    <a:pt x="53646" y="70006"/>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2" name="Google Shape;26495;p246">
              <a:extLst>
                <a:ext uri="{FF2B5EF4-FFF2-40B4-BE49-F238E27FC236}">
                  <a16:creationId xmlns:a16="http://schemas.microsoft.com/office/drawing/2014/main" id="{7ACDEBCA-030B-BBB9-FA1D-6F9490CB5E59}"/>
                </a:ext>
              </a:extLst>
            </p:cNvPr>
            <p:cNvSpPr/>
            <p:nvPr/>
          </p:nvSpPr>
          <p:spPr>
            <a:xfrm>
              <a:off x="5297284" y="1502237"/>
              <a:ext cx="63458" cy="70634"/>
            </a:xfrm>
            <a:custGeom>
              <a:avLst/>
              <a:gdLst/>
              <a:ahLst/>
              <a:cxnLst/>
              <a:rect l="l" t="t" r="r" b="b"/>
              <a:pathLst>
                <a:path w="63458" h="70634" extrusionOk="0">
                  <a:moveTo>
                    <a:pt x="53966" y="70634"/>
                  </a:moveTo>
                  <a:cubicBezTo>
                    <a:pt x="51870" y="70621"/>
                    <a:pt x="49842" y="69922"/>
                    <a:pt x="48181" y="68644"/>
                  </a:cubicBezTo>
                  <a:cubicBezTo>
                    <a:pt x="29134" y="53944"/>
                    <a:pt x="13260" y="35534"/>
                    <a:pt x="1528" y="14526"/>
                  </a:cubicBezTo>
                  <a:cubicBezTo>
                    <a:pt x="-1308" y="10182"/>
                    <a:pt x="-83" y="4362"/>
                    <a:pt x="4265" y="1527"/>
                  </a:cubicBezTo>
                  <a:cubicBezTo>
                    <a:pt x="8607" y="-1307"/>
                    <a:pt x="14429" y="-83"/>
                    <a:pt x="17260" y="4261"/>
                  </a:cubicBezTo>
                  <a:cubicBezTo>
                    <a:pt x="17496" y="4620"/>
                    <a:pt x="17708" y="4995"/>
                    <a:pt x="17888" y="5382"/>
                  </a:cubicBezTo>
                  <a:cubicBezTo>
                    <a:pt x="28481" y="24104"/>
                    <a:pt x="42745" y="40499"/>
                    <a:pt x="59813" y="53590"/>
                  </a:cubicBezTo>
                  <a:cubicBezTo>
                    <a:pt x="63900" y="56731"/>
                    <a:pt x="64666" y="62589"/>
                    <a:pt x="61524" y="66674"/>
                  </a:cubicBezTo>
                  <a:cubicBezTo>
                    <a:pt x="61512" y="66688"/>
                    <a:pt x="61505" y="66702"/>
                    <a:pt x="61493" y="66715"/>
                  </a:cubicBezTo>
                  <a:cubicBezTo>
                    <a:pt x="59745" y="69138"/>
                    <a:pt x="56952" y="70591"/>
                    <a:pt x="53966" y="70634"/>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4" name="Google Shape;26496;p246">
              <a:extLst>
                <a:ext uri="{FF2B5EF4-FFF2-40B4-BE49-F238E27FC236}">
                  <a16:creationId xmlns:a16="http://schemas.microsoft.com/office/drawing/2014/main" id="{E7879804-2740-AF62-2BB5-83DB93BC9B37}"/>
                </a:ext>
              </a:extLst>
            </p:cNvPr>
            <p:cNvSpPr/>
            <p:nvPr/>
          </p:nvSpPr>
          <p:spPr>
            <a:xfrm>
              <a:off x="5548748" y="1502236"/>
              <a:ext cx="63298" cy="70635"/>
            </a:xfrm>
            <a:custGeom>
              <a:avLst/>
              <a:gdLst/>
              <a:ahLst/>
              <a:cxnLst/>
              <a:rect l="l" t="t" r="r" b="b"/>
              <a:pathLst>
                <a:path w="63298" h="70635" extrusionOk="0">
                  <a:moveTo>
                    <a:pt x="9331" y="70635"/>
                  </a:moveTo>
                  <a:cubicBezTo>
                    <a:pt x="4143" y="70603"/>
                    <a:pt x="-37" y="66371"/>
                    <a:pt x="0" y="61184"/>
                  </a:cubicBezTo>
                  <a:cubicBezTo>
                    <a:pt x="13" y="58313"/>
                    <a:pt x="1344" y="55607"/>
                    <a:pt x="3608" y="53840"/>
                  </a:cubicBezTo>
                  <a:cubicBezTo>
                    <a:pt x="20658" y="40664"/>
                    <a:pt x="34878" y="24183"/>
                    <a:pt x="45409" y="5383"/>
                  </a:cubicBezTo>
                  <a:cubicBezTo>
                    <a:pt x="47624" y="693"/>
                    <a:pt x="53222" y="-1314"/>
                    <a:pt x="57912" y="902"/>
                  </a:cubicBezTo>
                  <a:cubicBezTo>
                    <a:pt x="62603" y="3117"/>
                    <a:pt x="64612" y="8716"/>
                    <a:pt x="62397" y="13406"/>
                  </a:cubicBezTo>
                  <a:cubicBezTo>
                    <a:pt x="62210" y="13794"/>
                    <a:pt x="62005" y="14168"/>
                    <a:pt x="61769" y="14527"/>
                  </a:cubicBezTo>
                  <a:cubicBezTo>
                    <a:pt x="50012" y="35538"/>
                    <a:pt x="34119" y="53947"/>
                    <a:pt x="15054" y="68645"/>
                  </a:cubicBezTo>
                  <a:cubicBezTo>
                    <a:pt x="13418" y="69923"/>
                    <a:pt x="11408" y="70622"/>
                    <a:pt x="9331" y="70635"/>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55" name="Google Shape;27289;p254">
            <a:extLst>
              <a:ext uri="{FF2B5EF4-FFF2-40B4-BE49-F238E27FC236}">
                <a16:creationId xmlns:a16="http://schemas.microsoft.com/office/drawing/2014/main" id="{15D6C50F-240B-053F-A219-F2DC71B90907}"/>
              </a:ext>
            </a:extLst>
          </p:cNvPr>
          <p:cNvSpPr/>
          <p:nvPr/>
        </p:nvSpPr>
        <p:spPr>
          <a:xfrm>
            <a:off x="3720140" y="2318426"/>
            <a:ext cx="406256" cy="477038"/>
          </a:xfrm>
          <a:custGeom>
            <a:avLst/>
            <a:gdLst/>
            <a:ahLst/>
            <a:cxnLst/>
            <a:rect l="l" t="t" r="r" b="b"/>
            <a:pathLst>
              <a:path w="200" h="200" extrusionOk="0">
                <a:moveTo>
                  <a:pt x="93" y="150"/>
                </a:moveTo>
                <a:cubicBezTo>
                  <a:pt x="93" y="150"/>
                  <a:pt x="93" y="150"/>
                  <a:pt x="93" y="150"/>
                </a:cubicBezTo>
                <a:cubicBezTo>
                  <a:pt x="93" y="135"/>
                  <a:pt x="93" y="135"/>
                  <a:pt x="93" y="135"/>
                </a:cubicBezTo>
                <a:cubicBezTo>
                  <a:pt x="61" y="102"/>
                  <a:pt x="61" y="102"/>
                  <a:pt x="61" y="102"/>
                </a:cubicBezTo>
                <a:cubicBezTo>
                  <a:pt x="58" y="99"/>
                  <a:pt x="54" y="99"/>
                  <a:pt x="52" y="102"/>
                </a:cubicBezTo>
                <a:cubicBezTo>
                  <a:pt x="49" y="104"/>
                  <a:pt x="49" y="108"/>
                  <a:pt x="52" y="111"/>
                </a:cubicBezTo>
                <a:cubicBezTo>
                  <a:pt x="100" y="159"/>
                  <a:pt x="100" y="159"/>
                  <a:pt x="100" y="159"/>
                </a:cubicBezTo>
                <a:cubicBezTo>
                  <a:pt x="147" y="111"/>
                  <a:pt x="147" y="111"/>
                  <a:pt x="147" y="111"/>
                </a:cubicBezTo>
                <a:cubicBezTo>
                  <a:pt x="150" y="108"/>
                  <a:pt x="150" y="104"/>
                  <a:pt x="147" y="102"/>
                </a:cubicBezTo>
                <a:cubicBezTo>
                  <a:pt x="145" y="99"/>
                  <a:pt x="141" y="99"/>
                  <a:pt x="139" y="102"/>
                </a:cubicBezTo>
                <a:cubicBezTo>
                  <a:pt x="106" y="135"/>
                  <a:pt x="106" y="135"/>
                  <a:pt x="106" y="135"/>
                </a:cubicBezTo>
                <a:cubicBezTo>
                  <a:pt x="106" y="62"/>
                  <a:pt x="106" y="62"/>
                  <a:pt x="106" y="62"/>
                </a:cubicBezTo>
                <a:cubicBezTo>
                  <a:pt x="93" y="62"/>
                  <a:pt x="93" y="62"/>
                  <a:pt x="93" y="62"/>
                </a:cubicBezTo>
                <a:cubicBezTo>
                  <a:pt x="93" y="135"/>
                  <a:pt x="93" y="135"/>
                  <a:pt x="93" y="135"/>
                </a:cubicBezTo>
                <a:lnTo>
                  <a:pt x="93" y="150"/>
                </a:lnTo>
                <a:close/>
                <a:moveTo>
                  <a:pt x="12" y="200"/>
                </a:moveTo>
                <a:cubicBezTo>
                  <a:pt x="187" y="200"/>
                  <a:pt x="187" y="200"/>
                  <a:pt x="187" y="200"/>
                </a:cubicBezTo>
                <a:cubicBezTo>
                  <a:pt x="194" y="200"/>
                  <a:pt x="200" y="194"/>
                  <a:pt x="200" y="187"/>
                </a:cubicBezTo>
                <a:cubicBezTo>
                  <a:pt x="200" y="50"/>
                  <a:pt x="200" y="50"/>
                  <a:pt x="200" y="50"/>
                </a:cubicBezTo>
                <a:cubicBezTo>
                  <a:pt x="106" y="50"/>
                  <a:pt x="106" y="50"/>
                  <a:pt x="106" y="50"/>
                </a:cubicBezTo>
                <a:cubicBezTo>
                  <a:pt x="106" y="62"/>
                  <a:pt x="106" y="62"/>
                  <a:pt x="106" y="62"/>
                </a:cubicBezTo>
                <a:cubicBezTo>
                  <a:pt x="187" y="62"/>
                  <a:pt x="187" y="62"/>
                  <a:pt x="187" y="62"/>
                </a:cubicBezTo>
                <a:cubicBezTo>
                  <a:pt x="187" y="187"/>
                  <a:pt x="187" y="187"/>
                  <a:pt x="187" y="187"/>
                </a:cubicBezTo>
                <a:cubicBezTo>
                  <a:pt x="12" y="187"/>
                  <a:pt x="12" y="187"/>
                  <a:pt x="12" y="187"/>
                </a:cubicBezTo>
                <a:cubicBezTo>
                  <a:pt x="12" y="62"/>
                  <a:pt x="12" y="62"/>
                  <a:pt x="12" y="62"/>
                </a:cubicBezTo>
                <a:cubicBezTo>
                  <a:pt x="93" y="62"/>
                  <a:pt x="93" y="62"/>
                  <a:pt x="93" y="62"/>
                </a:cubicBezTo>
                <a:cubicBezTo>
                  <a:pt x="93" y="50"/>
                  <a:pt x="93" y="50"/>
                  <a:pt x="93" y="50"/>
                </a:cubicBezTo>
                <a:cubicBezTo>
                  <a:pt x="0" y="50"/>
                  <a:pt x="0" y="50"/>
                  <a:pt x="0" y="50"/>
                </a:cubicBezTo>
                <a:cubicBezTo>
                  <a:pt x="0" y="187"/>
                  <a:pt x="0" y="187"/>
                  <a:pt x="0" y="187"/>
                </a:cubicBezTo>
                <a:cubicBezTo>
                  <a:pt x="0" y="194"/>
                  <a:pt x="5" y="200"/>
                  <a:pt x="12" y="200"/>
                </a:cubicBezTo>
                <a:close/>
                <a:moveTo>
                  <a:pt x="93" y="50"/>
                </a:moveTo>
                <a:cubicBezTo>
                  <a:pt x="106" y="50"/>
                  <a:pt x="106" y="50"/>
                  <a:pt x="106" y="50"/>
                </a:cubicBezTo>
                <a:cubicBezTo>
                  <a:pt x="106" y="0"/>
                  <a:pt x="106" y="0"/>
                  <a:pt x="106" y="0"/>
                </a:cubicBezTo>
                <a:cubicBezTo>
                  <a:pt x="93" y="0"/>
                  <a:pt x="93" y="0"/>
                  <a:pt x="93" y="0"/>
                </a:cubicBezTo>
                <a:lnTo>
                  <a:pt x="93" y="50"/>
                </a:lnTo>
                <a:close/>
                <a:moveTo>
                  <a:pt x="93" y="62"/>
                </a:moveTo>
                <a:cubicBezTo>
                  <a:pt x="106" y="62"/>
                  <a:pt x="106" y="62"/>
                  <a:pt x="106" y="62"/>
                </a:cubicBezTo>
                <a:cubicBezTo>
                  <a:pt x="106" y="50"/>
                  <a:pt x="106" y="50"/>
                  <a:pt x="106" y="50"/>
                </a:cubicBezTo>
                <a:cubicBezTo>
                  <a:pt x="93" y="50"/>
                  <a:pt x="93" y="50"/>
                  <a:pt x="93" y="50"/>
                </a:cubicBezTo>
                <a:lnTo>
                  <a:pt x="93" y="62"/>
                </a:lnTo>
                <a:close/>
              </a:path>
            </a:pathLst>
          </a:custGeom>
          <a:solidFill>
            <a:srgbClr val="00808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62" name="Google Shape;27593;p256">
            <a:extLst>
              <a:ext uri="{FF2B5EF4-FFF2-40B4-BE49-F238E27FC236}">
                <a16:creationId xmlns:a16="http://schemas.microsoft.com/office/drawing/2014/main" id="{38BEE4FD-43DB-37DB-7DDC-FF1AA413EF7E}"/>
              </a:ext>
            </a:extLst>
          </p:cNvPr>
          <p:cNvGrpSpPr/>
          <p:nvPr/>
        </p:nvGrpSpPr>
        <p:grpSpPr>
          <a:xfrm>
            <a:off x="3897606" y="3813552"/>
            <a:ext cx="447995" cy="395777"/>
            <a:chOff x="3950890" y="1222330"/>
            <a:chExt cx="447995" cy="395777"/>
          </a:xfrm>
          <a:solidFill>
            <a:schemeClr val="accent1"/>
          </a:solidFill>
        </p:grpSpPr>
        <p:sp>
          <p:nvSpPr>
            <p:cNvPr id="64" name="Google Shape;27594;p256">
              <a:extLst>
                <a:ext uri="{FF2B5EF4-FFF2-40B4-BE49-F238E27FC236}">
                  <a16:creationId xmlns:a16="http://schemas.microsoft.com/office/drawing/2014/main" id="{03327236-0EBC-1DBE-DFED-463FE52787B0}"/>
                </a:ext>
              </a:extLst>
            </p:cNvPr>
            <p:cNvSpPr/>
            <p:nvPr/>
          </p:nvSpPr>
          <p:spPr>
            <a:xfrm>
              <a:off x="3950890" y="1222330"/>
              <a:ext cx="447995" cy="253174"/>
            </a:xfrm>
            <a:custGeom>
              <a:avLst/>
              <a:gdLst/>
              <a:ahLst/>
              <a:cxnLst/>
              <a:rect l="l" t="t" r="r" b="b"/>
              <a:pathLst>
                <a:path w="447995" h="253174" extrusionOk="0">
                  <a:moveTo>
                    <a:pt x="439412" y="37293"/>
                  </a:moveTo>
                  <a:cubicBezTo>
                    <a:pt x="299993" y="-13231"/>
                    <a:pt x="147133" y="-12394"/>
                    <a:pt x="8275" y="39657"/>
                  </a:cubicBezTo>
                  <a:cubicBezTo>
                    <a:pt x="3237" y="41447"/>
                    <a:pt x="-91" y="46255"/>
                    <a:pt x="2" y="51600"/>
                  </a:cubicBezTo>
                  <a:lnTo>
                    <a:pt x="2" y="213331"/>
                  </a:lnTo>
                  <a:cubicBezTo>
                    <a:pt x="52" y="218598"/>
                    <a:pt x="3305" y="223303"/>
                    <a:pt x="8213" y="225212"/>
                  </a:cubicBezTo>
                  <a:cubicBezTo>
                    <a:pt x="25568" y="231805"/>
                    <a:pt x="64197" y="240887"/>
                    <a:pt x="92002" y="247481"/>
                  </a:cubicBezTo>
                  <a:lnTo>
                    <a:pt x="110103" y="251835"/>
                  </a:lnTo>
                  <a:cubicBezTo>
                    <a:pt x="111758" y="252613"/>
                    <a:pt x="113562" y="253016"/>
                    <a:pt x="115390" y="253017"/>
                  </a:cubicBezTo>
                  <a:cubicBezTo>
                    <a:pt x="122500" y="253017"/>
                    <a:pt x="128267" y="247252"/>
                    <a:pt x="128267" y="240141"/>
                  </a:cubicBezTo>
                  <a:cubicBezTo>
                    <a:pt x="128267" y="240120"/>
                    <a:pt x="128267" y="240099"/>
                    <a:pt x="128267" y="240078"/>
                  </a:cubicBezTo>
                  <a:lnTo>
                    <a:pt x="128267" y="190315"/>
                  </a:lnTo>
                  <a:cubicBezTo>
                    <a:pt x="142325" y="187889"/>
                    <a:pt x="156196" y="186023"/>
                    <a:pt x="169633" y="184717"/>
                  </a:cubicBezTo>
                  <a:cubicBezTo>
                    <a:pt x="176674" y="184013"/>
                    <a:pt x="181812" y="177733"/>
                    <a:pt x="181109" y="170690"/>
                  </a:cubicBezTo>
                  <a:cubicBezTo>
                    <a:pt x="180406" y="163647"/>
                    <a:pt x="174124" y="158509"/>
                    <a:pt x="167082" y="159213"/>
                  </a:cubicBezTo>
                  <a:cubicBezTo>
                    <a:pt x="154641" y="160457"/>
                    <a:pt x="141392" y="162261"/>
                    <a:pt x="128267" y="164438"/>
                  </a:cubicBezTo>
                  <a:lnTo>
                    <a:pt x="128267" y="82267"/>
                  </a:lnTo>
                  <a:cubicBezTo>
                    <a:pt x="128267" y="75190"/>
                    <a:pt x="122532" y="69453"/>
                    <a:pt x="115453" y="69453"/>
                  </a:cubicBezTo>
                  <a:cubicBezTo>
                    <a:pt x="114936" y="69418"/>
                    <a:pt x="114414" y="69418"/>
                    <a:pt x="113898" y="69453"/>
                  </a:cubicBezTo>
                  <a:lnTo>
                    <a:pt x="113400" y="69453"/>
                  </a:lnTo>
                  <a:cubicBezTo>
                    <a:pt x="90266" y="66918"/>
                    <a:pt x="67494" y="61742"/>
                    <a:pt x="45535" y="54026"/>
                  </a:cubicBezTo>
                  <a:cubicBezTo>
                    <a:pt x="162647" y="16589"/>
                    <a:pt x="288442" y="16133"/>
                    <a:pt x="405821" y="52720"/>
                  </a:cubicBezTo>
                  <a:cubicBezTo>
                    <a:pt x="382781" y="61169"/>
                    <a:pt x="358801" y="66808"/>
                    <a:pt x="334411" y="69515"/>
                  </a:cubicBezTo>
                  <a:lnTo>
                    <a:pt x="333913" y="69515"/>
                  </a:lnTo>
                  <a:cubicBezTo>
                    <a:pt x="333397" y="69481"/>
                    <a:pt x="332875" y="69481"/>
                    <a:pt x="332358" y="69515"/>
                  </a:cubicBezTo>
                  <a:cubicBezTo>
                    <a:pt x="325410" y="69684"/>
                    <a:pt x="319880" y="75382"/>
                    <a:pt x="319917" y="82329"/>
                  </a:cubicBezTo>
                  <a:lnTo>
                    <a:pt x="319917" y="166180"/>
                  </a:lnTo>
                  <a:cubicBezTo>
                    <a:pt x="307477" y="164189"/>
                    <a:pt x="295036" y="162448"/>
                    <a:pt x="282595" y="161204"/>
                  </a:cubicBezTo>
                  <a:cubicBezTo>
                    <a:pt x="275554" y="160500"/>
                    <a:pt x="269271" y="165638"/>
                    <a:pt x="268568" y="172680"/>
                  </a:cubicBezTo>
                  <a:cubicBezTo>
                    <a:pt x="267865" y="179723"/>
                    <a:pt x="273003" y="186003"/>
                    <a:pt x="280045" y="186707"/>
                  </a:cubicBezTo>
                  <a:cubicBezTo>
                    <a:pt x="292983" y="187951"/>
                    <a:pt x="306295" y="189755"/>
                    <a:pt x="319855" y="192057"/>
                  </a:cubicBezTo>
                  <a:lnTo>
                    <a:pt x="319855" y="240078"/>
                  </a:lnTo>
                  <a:cubicBezTo>
                    <a:pt x="319495" y="246940"/>
                    <a:pt x="324763" y="252795"/>
                    <a:pt x="331624" y="253158"/>
                  </a:cubicBezTo>
                  <a:cubicBezTo>
                    <a:pt x="333795" y="253272"/>
                    <a:pt x="335954" y="252816"/>
                    <a:pt x="337895" y="251835"/>
                  </a:cubicBezTo>
                  <a:lnTo>
                    <a:pt x="355934" y="247481"/>
                  </a:lnTo>
                  <a:cubicBezTo>
                    <a:pt x="383988" y="240887"/>
                    <a:pt x="422368" y="231805"/>
                    <a:pt x="439723" y="225212"/>
                  </a:cubicBezTo>
                  <a:cubicBezTo>
                    <a:pt x="444699" y="223307"/>
                    <a:pt x="447989" y="218534"/>
                    <a:pt x="447996" y="213206"/>
                  </a:cubicBezTo>
                  <a:lnTo>
                    <a:pt x="447996" y="49361"/>
                  </a:lnTo>
                  <a:cubicBezTo>
                    <a:pt x="448002" y="43919"/>
                    <a:pt x="444556" y="39072"/>
                    <a:pt x="439412" y="37293"/>
                  </a:cubicBezTo>
                  <a:close/>
                  <a:moveTo>
                    <a:pt x="345235" y="93899"/>
                  </a:moveTo>
                  <a:cubicBezTo>
                    <a:pt x="371728" y="90699"/>
                    <a:pt x="397667" y="83962"/>
                    <a:pt x="422368" y="73869"/>
                  </a:cubicBezTo>
                  <a:lnTo>
                    <a:pt x="422368" y="204498"/>
                  </a:lnTo>
                  <a:cubicBezTo>
                    <a:pt x="404764" y="210718"/>
                    <a:pt x="368499" y="219800"/>
                    <a:pt x="345235" y="225585"/>
                  </a:cubicBezTo>
                  <a:close/>
                  <a:moveTo>
                    <a:pt x="102639" y="225398"/>
                  </a:moveTo>
                  <a:cubicBezTo>
                    <a:pt x="79437" y="219613"/>
                    <a:pt x="43234" y="210345"/>
                    <a:pt x="25630" y="204311"/>
                  </a:cubicBezTo>
                  <a:lnTo>
                    <a:pt x="25630" y="73683"/>
                  </a:lnTo>
                  <a:cubicBezTo>
                    <a:pt x="50282" y="83791"/>
                    <a:pt x="76183" y="90528"/>
                    <a:pt x="102639" y="93712"/>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6" name="Google Shape;27595;p256">
              <a:extLst>
                <a:ext uri="{FF2B5EF4-FFF2-40B4-BE49-F238E27FC236}">
                  <a16:creationId xmlns:a16="http://schemas.microsoft.com/office/drawing/2014/main" id="{564184E2-F359-D643-C5C4-333F0E6310F9}"/>
                </a:ext>
              </a:extLst>
            </p:cNvPr>
            <p:cNvSpPr/>
            <p:nvPr/>
          </p:nvSpPr>
          <p:spPr>
            <a:xfrm>
              <a:off x="4107958" y="1330598"/>
              <a:ext cx="133987" cy="133987"/>
            </a:xfrm>
            <a:custGeom>
              <a:avLst/>
              <a:gdLst/>
              <a:ahLst/>
              <a:cxnLst/>
              <a:rect l="l" t="t" r="r" b="b"/>
              <a:pathLst>
                <a:path w="133987" h="133987" extrusionOk="0">
                  <a:moveTo>
                    <a:pt x="66932" y="133988"/>
                  </a:moveTo>
                  <a:cubicBezTo>
                    <a:pt x="103931" y="134022"/>
                    <a:pt x="133950" y="104056"/>
                    <a:pt x="133987" y="67056"/>
                  </a:cubicBezTo>
                  <a:cubicBezTo>
                    <a:pt x="134019" y="30056"/>
                    <a:pt x="104055" y="34"/>
                    <a:pt x="67056" y="0"/>
                  </a:cubicBezTo>
                  <a:cubicBezTo>
                    <a:pt x="30057" y="-34"/>
                    <a:pt x="31" y="29932"/>
                    <a:pt x="0" y="66932"/>
                  </a:cubicBezTo>
                  <a:cubicBezTo>
                    <a:pt x="0" y="66952"/>
                    <a:pt x="0" y="66973"/>
                    <a:pt x="0" y="66994"/>
                  </a:cubicBezTo>
                  <a:cubicBezTo>
                    <a:pt x="0" y="103969"/>
                    <a:pt x="29957" y="133953"/>
                    <a:pt x="66932" y="133988"/>
                  </a:cubicBezTo>
                  <a:close/>
                  <a:moveTo>
                    <a:pt x="66932" y="25504"/>
                  </a:moveTo>
                  <a:cubicBezTo>
                    <a:pt x="89879" y="25538"/>
                    <a:pt x="108459" y="44169"/>
                    <a:pt x="108422" y="67118"/>
                  </a:cubicBezTo>
                  <a:cubicBezTo>
                    <a:pt x="108384" y="90067"/>
                    <a:pt x="89754" y="108643"/>
                    <a:pt x="66807" y="108608"/>
                  </a:cubicBezTo>
                  <a:cubicBezTo>
                    <a:pt x="43860" y="108574"/>
                    <a:pt x="25286" y="89943"/>
                    <a:pt x="25317" y="66994"/>
                  </a:cubicBezTo>
                  <a:cubicBezTo>
                    <a:pt x="25348" y="44045"/>
                    <a:pt x="43984" y="25469"/>
                    <a:pt x="66932" y="25504"/>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67" name="Google Shape;27596;p256">
              <a:extLst>
                <a:ext uri="{FF2B5EF4-FFF2-40B4-BE49-F238E27FC236}">
                  <a16:creationId xmlns:a16="http://schemas.microsoft.com/office/drawing/2014/main" id="{CA974B82-CBC8-8683-1889-54C53735C620}"/>
                </a:ext>
              </a:extLst>
            </p:cNvPr>
            <p:cNvSpPr/>
            <p:nvPr/>
          </p:nvSpPr>
          <p:spPr>
            <a:xfrm>
              <a:off x="4014385" y="1508067"/>
              <a:ext cx="321147" cy="110040"/>
            </a:xfrm>
            <a:custGeom>
              <a:avLst/>
              <a:gdLst/>
              <a:ahLst/>
              <a:cxnLst/>
              <a:rect l="l" t="t" r="r" b="b"/>
              <a:pathLst>
                <a:path w="321147" h="110040" extrusionOk="0">
                  <a:moveTo>
                    <a:pt x="314832" y="60836"/>
                  </a:moveTo>
                  <a:lnTo>
                    <a:pt x="314832" y="60836"/>
                  </a:lnTo>
                  <a:cubicBezTo>
                    <a:pt x="286592" y="23886"/>
                    <a:pt x="226005" y="0"/>
                    <a:pt x="160504" y="0"/>
                  </a:cubicBezTo>
                  <a:cubicBezTo>
                    <a:pt x="95003" y="0"/>
                    <a:pt x="34416" y="23886"/>
                    <a:pt x="6176" y="60836"/>
                  </a:cubicBezTo>
                  <a:cubicBezTo>
                    <a:pt x="-4026" y="74396"/>
                    <a:pt x="-1307" y="93661"/>
                    <a:pt x="12253" y="103866"/>
                  </a:cubicBezTo>
                  <a:cubicBezTo>
                    <a:pt x="17671" y="107941"/>
                    <a:pt x="24277" y="110111"/>
                    <a:pt x="31057" y="110039"/>
                  </a:cubicBezTo>
                  <a:lnTo>
                    <a:pt x="290635" y="110039"/>
                  </a:lnTo>
                  <a:cubicBezTo>
                    <a:pt x="302261" y="109967"/>
                    <a:pt x="312842" y="103315"/>
                    <a:pt x="317943" y="92871"/>
                  </a:cubicBezTo>
                  <a:cubicBezTo>
                    <a:pt x="323149" y="82482"/>
                    <a:pt x="321942" y="70029"/>
                    <a:pt x="314832" y="60836"/>
                  </a:cubicBezTo>
                  <a:close/>
                  <a:moveTo>
                    <a:pt x="295114" y="81550"/>
                  </a:moveTo>
                  <a:cubicBezTo>
                    <a:pt x="294255" y="83420"/>
                    <a:pt x="292383" y="84613"/>
                    <a:pt x="290324" y="84598"/>
                  </a:cubicBezTo>
                  <a:lnTo>
                    <a:pt x="30746" y="84598"/>
                  </a:lnTo>
                  <a:cubicBezTo>
                    <a:pt x="28687" y="84613"/>
                    <a:pt x="26815" y="83420"/>
                    <a:pt x="25957" y="81550"/>
                  </a:cubicBezTo>
                  <a:cubicBezTo>
                    <a:pt x="24986" y="79868"/>
                    <a:pt x="25160" y="77763"/>
                    <a:pt x="26392" y="76262"/>
                  </a:cubicBezTo>
                  <a:cubicBezTo>
                    <a:pt x="50030" y="45160"/>
                    <a:pt x="102654" y="25441"/>
                    <a:pt x="160504" y="25441"/>
                  </a:cubicBezTo>
                  <a:cubicBezTo>
                    <a:pt x="218354" y="25441"/>
                    <a:pt x="271041" y="45409"/>
                    <a:pt x="294616" y="76262"/>
                  </a:cubicBezTo>
                  <a:cubicBezTo>
                    <a:pt x="295848" y="77756"/>
                    <a:pt x="296047" y="79851"/>
                    <a:pt x="295114" y="81550"/>
                  </a:cubicBezTo>
                  <a:close/>
                </a:path>
              </a:pathLst>
            </a:custGeom>
            <a:solidFill>
              <a:srgbClr val="00808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grpSp>
      <p:sp>
        <p:nvSpPr>
          <p:cNvPr id="68" name="Google Shape;27148;p252">
            <a:extLst>
              <a:ext uri="{FF2B5EF4-FFF2-40B4-BE49-F238E27FC236}">
                <a16:creationId xmlns:a16="http://schemas.microsoft.com/office/drawing/2014/main" id="{3630AC04-282E-978C-DF28-32EBAA2415C4}"/>
              </a:ext>
            </a:extLst>
          </p:cNvPr>
          <p:cNvSpPr/>
          <p:nvPr/>
        </p:nvSpPr>
        <p:spPr>
          <a:xfrm>
            <a:off x="1995298" y="3811849"/>
            <a:ext cx="468000" cy="468000"/>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00808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2954AFD8-5CC8-9D94-C3E5-2A0C02BC89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spTree>
    <p:extLst>
      <p:ext uri="{BB962C8B-B14F-4D97-AF65-F5344CB8AC3E}">
        <p14:creationId xmlns:p14="http://schemas.microsoft.com/office/powerpoint/2010/main" val="1163970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703E34-2E70-D0E2-6E04-D8CE003A9934}"/>
              </a:ext>
            </a:extLst>
          </p:cNvPr>
          <p:cNvSpPr>
            <a:spLocks noGrp="1"/>
          </p:cNvSpPr>
          <p:nvPr>
            <p:ph type="title"/>
          </p:nvPr>
        </p:nvSpPr>
        <p:spPr>
          <a:xfrm>
            <a:off x="660403" y="532325"/>
            <a:ext cx="9584705" cy="755245"/>
          </a:xfr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p>
            <a:r>
              <a:rPr lang="en-US" sz="3200"/>
              <a:t>Public Consultation of Environmental </a:t>
            </a:r>
            <a:br>
              <a:rPr lang="en-US" sz="3200"/>
            </a:br>
            <a:r>
              <a:rPr lang="en-US" sz="3200"/>
              <a:t>&amp; Social Impact Assessment</a:t>
            </a:r>
          </a:p>
        </p:txBody>
      </p:sp>
      <p:sp>
        <p:nvSpPr>
          <p:cNvPr id="5" name="Slide Number Placeholder 4">
            <a:extLst>
              <a:ext uri="{FF2B5EF4-FFF2-40B4-BE49-F238E27FC236}">
                <a16:creationId xmlns:a16="http://schemas.microsoft.com/office/drawing/2014/main" id="{DDFE6179-429C-ECAD-FDA5-42926051E0C9}"/>
              </a:ext>
            </a:extLst>
          </p:cNvPr>
          <p:cNvSpPr>
            <a:spLocks noGrp="1"/>
          </p:cNvSpPr>
          <p:nvPr>
            <p:ph type="sldNum" sz="quarter" idx="10"/>
          </p:nvPr>
        </p:nvSpPr>
        <p:spPr>
          <a:xfrm>
            <a:off x="11369677" y="6435725"/>
            <a:ext cx="569913" cy="293688"/>
          </a:xfrm>
        </p:spPr>
        <p:txBody>
          <a:bodyPr>
            <a:normAutofit/>
          </a:bodyPr>
          <a:lstStyle/>
          <a:p>
            <a:pPr>
              <a:spcAft>
                <a:spcPts val="600"/>
              </a:spcAft>
              <a:defRPr/>
            </a:pPr>
            <a:fld id="{D65ACB9B-F2BC-4FE9-9640-F5E580D0F44C}" type="slidenum">
              <a:rPr lang="en-US" altLang="en-US"/>
              <a:pPr>
                <a:spcAft>
                  <a:spcPts val="600"/>
                </a:spcAft>
                <a:defRPr/>
              </a:pPr>
              <a:t>5</a:t>
            </a:fld>
            <a:endParaRPr lang="en-US" altLang="en-US"/>
          </a:p>
        </p:txBody>
      </p:sp>
      <p:pic>
        <p:nvPicPr>
          <p:cNvPr id="3" name="Picture 2">
            <a:extLst>
              <a:ext uri="{FF2B5EF4-FFF2-40B4-BE49-F238E27FC236}">
                <a16:creationId xmlns:a16="http://schemas.microsoft.com/office/drawing/2014/main" id="{456E926B-B412-988E-F09D-4A7A7B2689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pic>
        <p:nvPicPr>
          <p:cNvPr id="2" name="Picture 1" descr="A building with a window&#10;&#10;Description automatically generated">
            <a:extLst>
              <a:ext uri="{FF2B5EF4-FFF2-40B4-BE49-F238E27FC236}">
                <a16:creationId xmlns:a16="http://schemas.microsoft.com/office/drawing/2014/main" id="{2AF626E8-E463-A03B-1DDD-7C11971BA911}"/>
              </a:ext>
            </a:extLst>
          </p:cNvPr>
          <p:cNvPicPr>
            <a:picLocks noChangeAspect="1"/>
          </p:cNvPicPr>
          <p:nvPr/>
        </p:nvPicPr>
        <p:blipFill>
          <a:blip r:embed="rId4"/>
          <a:srcRect t="19124"/>
          <a:stretch/>
        </p:blipFill>
        <p:spPr>
          <a:xfrm>
            <a:off x="4807759" y="1530024"/>
            <a:ext cx="7214887" cy="3797952"/>
          </a:xfrm>
          <a:prstGeom prst="rect">
            <a:avLst/>
          </a:prstGeom>
        </p:spPr>
      </p:pic>
      <p:sp>
        <p:nvSpPr>
          <p:cNvPr id="8" name="Content Placeholder 7">
            <a:extLst>
              <a:ext uri="{FF2B5EF4-FFF2-40B4-BE49-F238E27FC236}">
                <a16:creationId xmlns:a16="http://schemas.microsoft.com/office/drawing/2014/main" id="{B49CEE02-819A-72FE-AAD4-E2606569BA17}"/>
              </a:ext>
            </a:extLst>
          </p:cNvPr>
          <p:cNvSpPr>
            <a:spLocks noGrp="1"/>
          </p:cNvSpPr>
          <p:nvPr>
            <p:ph idx="1"/>
          </p:nvPr>
        </p:nvSpPr>
        <p:spPr>
          <a:xfrm>
            <a:off x="660403" y="1998023"/>
            <a:ext cx="4147356" cy="2861954"/>
          </a:xfrm>
        </p:spPr>
        <p:txBody>
          <a:bodyPr/>
          <a:lstStyle/>
          <a:p>
            <a:pPr marL="342900" indent="-342900">
              <a:buChar char="•"/>
            </a:pPr>
            <a:r>
              <a:rPr lang="en-US" sz="1850" b="1">
                <a:cs typeface="Calibri Light"/>
              </a:rPr>
              <a:t>Comprehensive Environmental &amp; Social Impacts Assessment</a:t>
            </a:r>
          </a:p>
          <a:p>
            <a:pPr marL="342900" indent="-342900">
              <a:buChar char="•"/>
            </a:pPr>
            <a:r>
              <a:rPr lang="en-US" sz="1850" b="1">
                <a:cs typeface="Calibri Light"/>
              </a:rPr>
              <a:t>12 </a:t>
            </a:r>
            <a:r>
              <a:rPr lang="en-US" sz="1850">
                <a:cs typeface="Calibri Light"/>
              </a:rPr>
              <a:t>open events in the community</a:t>
            </a:r>
            <a:endParaRPr lang="en-US"/>
          </a:p>
          <a:p>
            <a:pPr marL="342900" indent="-342900">
              <a:buChar char="•"/>
            </a:pPr>
            <a:r>
              <a:rPr lang="en-US" sz="1850" b="1">
                <a:cs typeface="Calibri Light"/>
              </a:rPr>
              <a:t>Presentation</a:t>
            </a:r>
            <a:r>
              <a:rPr lang="en-US" sz="1850">
                <a:cs typeface="Calibri Light"/>
              </a:rPr>
              <a:t> of the Environmental and Social Impact Assessment Study </a:t>
            </a:r>
          </a:p>
          <a:p>
            <a:pPr marL="342900" indent="-342900">
              <a:buChar char="•"/>
            </a:pPr>
            <a:r>
              <a:rPr lang="en-US" sz="1850" b="1">
                <a:cs typeface="Calibri Light"/>
              </a:rPr>
              <a:t>Received and addressed questions &amp; concerns</a:t>
            </a:r>
            <a:r>
              <a:rPr lang="en-US" sz="1850">
                <a:cs typeface="Calibri Light"/>
              </a:rPr>
              <a:t> of the local community </a:t>
            </a:r>
            <a:endParaRPr lang="en-US" sz="1850"/>
          </a:p>
          <a:p>
            <a:endParaRPr lang="en-US" sz="1850"/>
          </a:p>
        </p:txBody>
      </p:sp>
    </p:spTree>
    <p:extLst>
      <p:ext uri="{BB962C8B-B14F-4D97-AF65-F5344CB8AC3E}">
        <p14:creationId xmlns:p14="http://schemas.microsoft.com/office/powerpoint/2010/main" val="2136070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00D96-D142-1705-0026-E0F7AEDBE82E}"/>
            </a:ext>
          </a:extLst>
        </p:cNvPr>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003A2471-946C-712B-454D-D41A34C47CA7}"/>
              </a:ext>
            </a:extLst>
          </p:cNvPr>
          <p:cNvSpPr/>
          <p:nvPr/>
        </p:nvSpPr>
        <p:spPr>
          <a:xfrm>
            <a:off x="2643868" y="3838799"/>
            <a:ext cx="3452132" cy="1148252"/>
          </a:xfrm>
          <a:prstGeom prst="roundRect">
            <a:avLst/>
          </a:prstGeom>
          <a:noFill/>
          <a:ln>
            <a:solidFill>
              <a:srgbClr val="00808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l-GR"/>
          </a:p>
        </p:txBody>
      </p:sp>
      <p:graphicFrame>
        <p:nvGraphicFramePr>
          <p:cNvPr id="30" name="think-cell data - do not delete" hidden="1">
            <a:extLst>
              <a:ext uri="{FF2B5EF4-FFF2-40B4-BE49-F238E27FC236}">
                <a16:creationId xmlns:a16="http://schemas.microsoft.com/office/drawing/2014/main" id="{8EC2799D-CA48-D4A3-0719-3DF68AB43A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0" name="think-cell data - do not delete" hidden="1">
                        <a:extLst>
                          <a:ext uri="{FF2B5EF4-FFF2-40B4-BE49-F238E27FC236}">
                            <a16:creationId xmlns:a16="http://schemas.microsoft.com/office/drawing/2014/main" id="{8EC2799D-CA48-D4A3-0719-3DF68AB43A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extBox 41">
            <a:extLst>
              <a:ext uri="{FF2B5EF4-FFF2-40B4-BE49-F238E27FC236}">
                <a16:creationId xmlns:a16="http://schemas.microsoft.com/office/drawing/2014/main" id="{65B10827-4F00-4332-56A5-51001BE02153}"/>
              </a:ext>
            </a:extLst>
          </p:cNvPr>
          <p:cNvSpPr txBox="1"/>
          <p:nvPr/>
        </p:nvSpPr>
        <p:spPr>
          <a:xfrm>
            <a:off x="4576267" y="5253229"/>
            <a:ext cx="3542923" cy="523220"/>
          </a:xfrm>
          <a:prstGeom prst="rect">
            <a:avLst/>
          </a:prstGeom>
          <a:solidFill>
            <a:srgbClr val="008080"/>
          </a:solidFill>
          <a:effectLst>
            <a:outerShdw blurRad="50800" dist="38100" dir="2700000" algn="tl" rotWithShape="0">
              <a:prstClr val="black">
                <a:alpha val="40000"/>
              </a:prstClr>
            </a:outerShdw>
          </a:effectLst>
        </p:spPr>
        <p:txBody>
          <a:bodyPr wrap="square" lIns="91440" tIns="45720" rIns="91440" bIns="45720" anchor="t">
            <a:spAutoFit/>
          </a:bodyPr>
          <a:lstStyle/>
          <a:p>
            <a:pPr marL="0" lvl="1" algn="ctr" defTabSz="1219170">
              <a:spcBef>
                <a:spcPts val="1333"/>
              </a:spcBef>
              <a:buClr>
                <a:srgbClr val="009FA5"/>
              </a:buClr>
              <a:defRPr/>
            </a:pPr>
            <a:r>
              <a:rPr lang="en-US" sz="1400" b="1">
                <a:solidFill>
                  <a:srgbClr val="FFFFFF"/>
                </a:solidFill>
                <a:latin typeface="Arial"/>
                <a:cs typeface="Arial"/>
              </a:rPr>
              <a:t>Front-loaded USD 80 million Community Investment </a:t>
            </a:r>
            <a:r>
              <a:rPr lang="en-US" sz="1400" b="1" err="1">
                <a:solidFill>
                  <a:srgbClr val="FFFFFF"/>
                </a:solidFill>
                <a:latin typeface="Arial"/>
                <a:cs typeface="Arial"/>
              </a:rPr>
              <a:t>Programme</a:t>
            </a:r>
            <a:r>
              <a:rPr lang="en-US" sz="1400" b="1">
                <a:solidFill>
                  <a:srgbClr val="FFFFFF"/>
                </a:solidFill>
                <a:latin typeface="Arial"/>
                <a:cs typeface="Arial"/>
              </a:rPr>
              <a:t> </a:t>
            </a:r>
          </a:p>
        </p:txBody>
      </p:sp>
      <p:sp>
        <p:nvSpPr>
          <p:cNvPr id="77" name="TextBox 76">
            <a:extLst>
              <a:ext uri="{FF2B5EF4-FFF2-40B4-BE49-F238E27FC236}">
                <a16:creationId xmlns:a16="http://schemas.microsoft.com/office/drawing/2014/main" id="{848BB23E-68A2-5029-D881-0949A6BA9756}"/>
              </a:ext>
            </a:extLst>
          </p:cNvPr>
          <p:cNvSpPr txBox="1"/>
          <p:nvPr/>
        </p:nvSpPr>
        <p:spPr>
          <a:xfrm>
            <a:off x="3235615" y="6161802"/>
            <a:ext cx="284052" cy="307777"/>
          </a:xfrm>
          <a:prstGeom prst="rect">
            <a:avLst/>
          </a:prstGeom>
          <a:noFill/>
        </p:spPr>
        <p:txBody>
          <a:bodyPr wrap="square" rtlCol="0">
            <a:spAutoFit/>
          </a:bodyPr>
          <a:lstStyle/>
          <a:p>
            <a:r>
              <a:rPr lang="en-US" sz="1400" b="1">
                <a:solidFill>
                  <a:schemeClr val="bg1"/>
                </a:solidFill>
              </a:rPr>
              <a:t>4</a:t>
            </a:r>
            <a:endParaRPr lang="el-GR" sz="1400" b="1">
              <a:solidFill>
                <a:schemeClr val="bg1"/>
              </a:solidFill>
            </a:endParaRPr>
          </a:p>
        </p:txBody>
      </p:sp>
      <p:sp>
        <p:nvSpPr>
          <p:cNvPr id="35" name="TextBox 34">
            <a:extLst>
              <a:ext uri="{FF2B5EF4-FFF2-40B4-BE49-F238E27FC236}">
                <a16:creationId xmlns:a16="http://schemas.microsoft.com/office/drawing/2014/main" id="{8F7875F2-7112-3A5E-E5A3-F5CD74805EC4}"/>
              </a:ext>
            </a:extLst>
          </p:cNvPr>
          <p:cNvSpPr txBox="1"/>
          <p:nvPr/>
        </p:nvSpPr>
        <p:spPr>
          <a:xfrm>
            <a:off x="3085291" y="1516472"/>
            <a:ext cx="6679982" cy="38207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lIns="91440" tIns="45720" rIns="91440" bIns="45720" rtlCol="0" anchor="ctr">
            <a:noAutofit/>
          </a:bodyPr>
          <a:lstStyle/>
          <a:p>
            <a:pPr algn="ctr"/>
            <a:r>
              <a:rPr lang="en-US" b="1">
                <a:solidFill>
                  <a:srgbClr val="008080"/>
                </a:solidFill>
              </a:rPr>
              <a:t>Community investments Strategic Pillars</a:t>
            </a:r>
            <a:endParaRPr lang="el-GR" b="1">
              <a:solidFill>
                <a:srgbClr val="008080"/>
              </a:solidFill>
              <a:cs typeface="Calibri"/>
            </a:endParaRPr>
          </a:p>
        </p:txBody>
      </p:sp>
      <p:grpSp>
        <p:nvGrpSpPr>
          <p:cNvPr id="125" name="Group 124">
            <a:extLst>
              <a:ext uri="{FF2B5EF4-FFF2-40B4-BE49-F238E27FC236}">
                <a16:creationId xmlns:a16="http://schemas.microsoft.com/office/drawing/2014/main" id="{D20DF33F-C459-7D4F-96B5-C59A965AFCAD}"/>
              </a:ext>
            </a:extLst>
          </p:cNvPr>
          <p:cNvGrpSpPr/>
          <p:nvPr/>
        </p:nvGrpSpPr>
        <p:grpSpPr>
          <a:xfrm>
            <a:off x="2808212" y="3967838"/>
            <a:ext cx="2898176" cy="830997"/>
            <a:chOff x="4048757" y="-1318073"/>
            <a:chExt cx="2898176" cy="832298"/>
          </a:xfrm>
        </p:grpSpPr>
        <p:pic>
          <p:nvPicPr>
            <p:cNvPr id="46" name="Graphic 45" descr="Graduation cap with solid fill">
              <a:extLst>
                <a:ext uri="{FF2B5EF4-FFF2-40B4-BE49-F238E27FC236}">
                  <a16:creationId xmlns:a16="http://schemas.microsoft.com/office/drawing/2014/main" id="{FEA13929-69CE-E6B0-3446-AF3940F7E91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48757" y="-1084597"/>
              <a:ext cx="393202" cy="386071"/>
            </a:xfrm>
            <a:prstGeom prst="rect">
              <a:avLst/>
            </a:prstGeom>
          </p:spPr>
        </p:pic>
        <p:sp>
          <p:nvSpPr>
            <p:cNvPr id="39" name="TextBox 38">
              <a:extLst>
                <a:ext uri="{FF2B5EF4-FFF2-40B4-BE49-F238E27FC236}">
                  <a16:creationId xmlns:a16="http://schemas.microsoft.com/office/drawing/2014/main" id="{339AF413-B83F-630D-FED1-DAA4DC138FCA}"/>
                </a:ext>
              </a:extLst>
            </p:cNvPr>
            <p:cNvSpPr txBox="1"/>
            <p:nvPr/>
          </p:nvSpPr>
          <p:spPr>
            <a:xfrm>
              <a:off x="4438369" y="-1318073"/>
              <a:ext cx="2508564" cy="832298"/>
            </a:xfrm>
            <a:prstGeom prst="rect">
              <a:avLst/>
            </a:prstGeom>
            <a:noFill/>
            <a:ln>
              <a:noFill/>
            </a:ln>
          </p:spPr>
          <p:txBody>
            <a:bodyPr wrap="square" lIns="91440" tIns="45720" rIns="91440" bIns="45720" anchor="t">
              <a:spAutoFit/>
            </a:bodyPr>
            <a:lstStyle>
              <a:defPPr>
                <a:defRPr lang="en-US"/>
              </a:defPPr>
              <a:lvl1pPr>
                <a:defRPr kumimoji="0" sz="1100" b="0" i="0" u="none" strike="noStrike" cap="none" spc="0" normalizeH="0" baseline="0">
                  <a:ln>
                    <a:noFill/>
                  </a:ln>
                  <a:solidFill>
                    <a:srgbClr val="48413E">
                      <a:hueOff val="0"/>
                      <a:satOff val="0"/>
                      <a:lumOff val="0"/>
                      <a:alphaOff val="0"/>
                    </a:srgbClr>
                  </a:solidFill>
                  <a:effectLst/>
                  <a:uLnTx/>
                  <a:uFillTx/>
                  <a:latin typeface="Arial"/>
                </a:defRPr>
              </a:lvl1pPr>
            </a:lstStyle>
            <a:p>
              <a:r>
                <a:rPr lang="en-US" sz="1600"/>
                <a:t>Support </a:t>
              </a:r>
              <a:r>
                <a:rPr lang="en-US" sz="1600" b="1"/>
                <a:t>educational</a:t>
              </a:r>
              <a:r>
                <a:rPr lang="en-US" sz="1600"/>
                <a:t> opportunities for youth in the local communities</a:t>
              </a:r>
              <a:endParaRPr lang="el-GR" sz="1600"/>
            </a:p>
          </p:txBody>
        </p:sp>
      </p:grpSp>
      <p:grpSp>
        <p:nvGrpSpPr>
          <p:cNvPr id="3" name="Group 2">
            <a:extLst>
              <a:ext uri="{FF2B5EF4-FFF2-40B4-BE49-F238E27FC236}">
                <a16:creationId xmlns:a16="http://schemas.microsoft.com/office/drawing/2014/main" id="{9026D7EC-8E6F-AA02-1880-6EB869DF4468}"/>
              </a:ext>
            </a:extLst>
          </p:cNvPr>
          <p:cNvGrpSpPr/>
          <p:nvPr/>
        </p:nvGrpSpPr>
        <p:grpSpPr>
          <a:xfrm>
            <a:off x="671362" y="2367287"/>
            <a:ext cx="3009824" cy="1168073"/>
            <a:chOff x="584495" y="2405108"/>
            <a:chExt cx="2185855" cy="931137"/>
          </a:xfrm>
        </p:grpSpPr>
        <p:sp>
          <p:nvSpPr>
            <p:cNvPr id="2" name="Rectangle: Rounded Corners 1">
              <a:extLst>
                <a:ext uri="{FF2B5EF4-FFF2-40B4-BE49-F238E27FC236}">
                  <a16:creationId xmlns:a16="http://schemas.microsoft.com/office/drawing/2014/main" id="{1F45DD5F-333B-C056-680E-8777ED448178}"/>
                </a:ext>
              </a:extLst>
            </p:cNvPr>
            <p:cNvSpPr/>
            <p:nvPr/>
          </p:nvSpPr>
          <p:spPr>
            <a:xfrm>
              <a:off x="584495" y="2405108"/>
              <a:ext cx="2185855" cy="931137"/>
            </a:xfrm>
            <a:prstGeom prst="roundRect">
              <a:avLst/>
            </a:prstGeom>
            <a:noFill/>
            <a:ln>
              <a:solidFill>
                <a:srgbClr val="00808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l-GR" sz="1600"/>
            </a:p>
          </p:txBody>
        </p:sp>
        <p:grpSp>
          <p:nvGrpSpPr>
            <p:cNvPr id="126" name="Group 125">
              <a:extLst>
                <a:ext uri="{FF2B5EF4-FFF2-40B4-BE49-F238E27FC236}">
                  <a16:creationId xmlns:a16="http://schemas.microsoft.com/office/drawing/2014/main" id="{04BE8675-CFE9-248D-9AD1-A721F4FDCCAC}"/>
                </a:ext>
              </a:extLst>
            </p:cNvPr>
            <p:cNvGrpSpPr/>
            <p:nvPr/>
          </p:nvGrpSpPr>
          <p:grpSpPr>
            <a:xfrm>
              <a:off x="703306" y="2508284"/>
              <a:ext cx="1972967" cy="762164"/>
              <a:chOff x="4201225" y="2695650"/>
              <a:chExt cx="1972967" cy="761207"/>
            </a:xfrm>
          </p:grpSpPr>
          <p:sp>
            <p:nvSpPr>
              <p:cNvPr id="45" name="Oval 44" descr="Mining tools with solid fill">
                <a:extLst>
                  <a:ext uri="{FF2B5EF4-FFF2-40B4-BE49-F238E27FC236}">
                    <a16:creationId xmlns:a16="http://schemas.microsoft.com/office/drawing/2014/main" id="{12F71552-1FEF-FD1F-2BD6-8FFC2AF04025}"/>
                  </a:ext>
                </a:extLst>
              </p:cNvPr>
              <p:cNvSpPr/>
              <p:nvPr/>
            </p:nvSpPr>
            <p:spPr>
              <a:xfrm>
                <a:off x="4201225" y="2909154"/>
                <a:ext cx="296472" cy="245038"/>
              </a:xfrm>
              <a:prstGeom prst="ellipse">
                <a:avLst/>
              </a:prstGeom>
              <a: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TextBox 49">
                <a:extLst>
                  <a:ext uri="{FF2B5EF4-FFF2-40B4-BE49-F238E27FC236}">
                    <a16:creationId xmlns:a16="http://schemas.microsoft.com/office/drawing/2014/main" id="{A6F9B51D-C61B-C081-2D04-44C0B342D73B}"/>
                  </a:ext>
                </a:extLst>
              </p:cNvPr>
              <p:cNvSpPr txBox="1"/>
              <p:nvPr/>
            </p:nvSpPr>
            <p:spPr>
              <a:xfrm>
                <a:off x="4528943" y="2695650"/>
                <a:ext cx="1645249" cy="761207"/>
              </a:xfrm>
              <a:prstGeom prst="rect">
                <a:avLst/>
              </a:prstGeom>
              <a:noFill/>
            </p:spPr>
            <p:txBody>
              <a:bodyPr wrap="square" lIns="91440" tIns="45720" rIns="91440" bIns="45720" anchor="t">
                <a:spAutoFit/>
              </a:bodyPr>
              <a:lstStyle>
                <a:defPPr>
                  <a:defRPr lang="en-US"/>
                </a:defPPr>
                <a:lvl1pPr>
                  <a:defRPr kumimoji="0" sz="900" b="0" i="0" u="none" strike="noStrike" cap="none" spc="0" normalizeH="0" baseline="0">
                    <a:ln>
                      <a:noFill/>
                    </a:ln>
                    <a:solidFill>
                      <a:srgbClr val="48413E">
                        <a:hueOff val="0"/>
                        <a:satOff val="0"/>
                        <a:lumOff val="0"/>
                        <a:alphaOff val="0"/>
                      </a:srgbClr>
                    </a:solidFill>
                    <a:effectLst/>
                    <a:uLnTx/>
                    <a:uFillTx/>
                    <a:latin typeface="Arial"/>
                  </a:defRPr>
                </a:lvl1pPr>
              </a:lstStyle>
              <a:p>
                <a:r>
                  <a:rPr lang="en-US" sz="1600"/>
                  <a:t>Support the development of the </a:t>
                </a:r>
                <a:r>
                  <a:rPr lang="en-US" sz="1600" b="1"/>
                  <a:t>local economy </a:t>
                </a:r>
                <a:endParaRPr lang="el-GR" sz="1600" b="1"/>
              </a:p>
            </p:txBody>
          </p:sp>
        </p:grpSp>
      </p:grpSp>
      <p:grpSp>
        <p:nvGrpSpPr>
          <p:cNvPr id="124" name="Group 123">
            <a:extLst>
              <a:ext uri="{FF2B5EF4-FFF2-40B4-BE49-F238E27FC236}">
                <a16:creationId xmlns:a16="http://schemas.microsoft.com/office/drawing/2014/main" id="{CBD3A51B-C25C-9080-8023-72FAB619FB97}"/>
              </a:ext>
            </a:extLst>
          </p:cNvPr>
          <p:cNvGrpSpPr/>
          <p:nvPr/>
        </p:nvGrpSpPr>
        <p:grpSpPr>
          <a:xfrm>
            <a:off x="6447202" y="3952003"/>
            <a:ext cx="3343678" cy="2003678"/>
            <a:chOff x="5726999" y="2461602"/>
            <a:chExt cx="1998736" cy="2057742"/>
          </a:xfrm>
        </p:grpSpPr>
        <p:sp>
          <p:nvSpPr>
            <p:cNvPr id="48" name="Oval 47" descr="Inpatient with solid fill">
              <a:extLst>
                <a:ext uri="{FF2B5EF4-FFF2-40B4-BE49-F238E27FC236}">
                  <a16:creationId xmlns:a16="http://schemas.microsoft.com/office/drawing/2014/main" id="{BF0E4986-C01C-7A4F-BEF2-F5A7A14B7FCB}"/>
                </a:ext>
              </a:extLst>
            </p:cNvPr>
            <p:cNvSpPr/>
            <p:nvPr/>
          </p:nvSpPr>
          <p:spPr>
            <a:xfrm>
              <a:off x="5726999" y="2725227"/>
              <a:ext cx="376115" cy="395868"/>
            </a:xfrm>
            <a:prstGeom prst="ellipse">
              <a:avLst/>
            </a:prstGeom>
            <a: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600" b="0" i="0" u="none" strike="noStrike" kern="1200" cap="none" spc="0" normalizeH="0" baseline="0" noProof="0">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C2FFCC60-D093-A3CF-4EFD-2A20E3060493}"/>
                </a:ext>
              </a:extLst>
            </p:cNvPr>
            <p:cNvSpPr txBox="1"/>
            <p:nvPr/>
          </p:nvSpPr>
          <p:spPr>
            <a:xfrm>
              <a:off x="6156530" y="2461602"/>
              <a:ext cx="1569205" cy="2057742"/>
            </a:xfrm>
            <a:prstGeom prst="rect">
              <a:avLst/>
            </a:prstGeom>
            <a:noFill/>
          </p:spPr>
          <p:txBody>
            <a:bodyPr wrap="square" lIns="91440" tIns="45720" rIns="91440" bIns="45720" anchor="t">
              <a:spAutoFit/>
            </a:bodyPr>
            <a:lstStyle>
              <a:defPPr>
                <a:defRPr lang="en-US"/>
              </a:defPPr>
              <a:lvl1pPr>
                <a:defRPr kumimoji="0" sz="1100" b="0" i="0" u="none" strike="noStrike" cap="none" spc="0" normalizeH="0" baseline="0">
                  <a:ln>
                    <a:noFill/>
                  </a:ln>
                  <a:solidFill>
                    <a:srgbClr val="48413E">
                      <a:hueOff val="0"/>
                      <a:satOff val="0"/>
                      <a:lumOff val="0"/>
                      <a:alphaOff val="0"/>
                    </a:srgbClr>
                  </a:solidFill>
                  <a:effectLst/>
                  <a:uLnTx/>
                  <a:uFillTx/>
                  <a:latin typeface="Arial"/>
                </a:defRPr>
              </a:lvl1pPr>
            </a:lstStyle>
            <a:p>
              <a:r>
                <a:rPr lang="en-US" sz="1600"/>
                <a:t>Support sustainable primary </a:t>
              </a:r>
              <a:r>
                <a:rPr lang="en-US" sz="1600" b="1"/>
                <a:t>healthcare</a:t>
              </a:r>
              <a:r>
                <a:rPr lang="en-US" sz="1600"/>
                <a:t> network and social support for vulnerable groups</a:t>
              </a:r>
              <a:endParaRPr lang="el-GR" sz="1600"/>
            </a:p>
          </p:txBody>
        </p:sp>
      </p:grpSp>
      <p:grpSp>
        <p:nvGrpSpPr>
          <p:cNvPr id="22" name="Group 21">
            <a:extLst>
              <a:ext uri="{FF2B5EF4-FFF2-40B4-BE49-F238E27FC236}">
                <a16:creationId xmlns:a16="http://schemas.microsoft.com/office/drawing/2014/main" id="{26895374-1170-F129-85B3-0ECE48AB0960}"/>
              </a:ext>
            </a:extLst>
          </p:cNvPr>
          <p:cNvGrpSpPr/>
          <p:nvPr/>
        </p:nvGrpSpPr>
        <p:grpSpPr>
          <a:xfrm>
            <a:off x="2526475" y="3666231"/>
            <a:ext cx="350874" cy="336471"/>
            <a:chOff x="-839972" y="2181172"/>
            <a:chExt cx="350874" cy="336471"/>
          </a:xfrm>
        </p:grpSpPr>
        <p:sp>
          <p:nvSpPr>
            <p:cNvPr id="23" name="Oval 22">
              <a:extLst>
                <a:ext uri="{FF2B5EF4-FFF2-40B4-BE49-F238E27FC236}">
                  <a16:creationId xmlns:a16="http://schemas.microsoft.com/office/drawing/2014/main" id="{1FFF0A8B-31B3-19DD-8140-3114B0BB2F03}"/>
                </a:ext>
              </a:extLst>
            </p:cNvPr>
            <p:cNvSpPr/>
            <p:nvPr/>
          </p:nvSpPr>
          <p:spPr>
            <a:xfrm>
              <a:off x="-839972" y="2181172"/>
              <a:ext cx="350874" cy="336471"/>
            </a:xfrm>
            <a:prstGeom prst="ellipse">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4" name="TextBox 23">
              <a:extLst>
                <a:ext uri="{FF2B5EF4-FFF2-40B4-BE49-F238E27FC236}">
                  <a16:creationId xmlns:a16="http://schemas.microsoft.com/office/drawing/2014/main" id="{8AF5B178-4A9E-4BB2-85E7-1734790D7681}"/>
                </a:ext>
              </a:extLst>
            </p:cNvPr>
            <p:cNvSpPr txBox="1"/>
            <p:nvPr/>
          </p:nvSpPr>
          <p:spPr>
            <a:xfrm>
              <a:off x="-796245" y="2189641"/>
              <a:ext cx="284052" cy="307777"/>
            </a:xfrm>
            <a:prstGeom prst="rect">
              <a:avLst/>
            </a:prstGeom>
            <a:noFill/>
          </p:spPr>
          <p:txBody>
            <a:bodyPr wrap="square" rtlCol="0">
              <a:spAutoFit/>
            </a:bodyPr>
            <a:lstStyle/>
            <a:p>
              <a:r>
                <a:rPr lang="en-US" sz="1400" b="1">
                  <a:solidFill>
                    <a:schemeClr val="bg1"/>
                  </a:solidFill>
                </a:rPr>
                <a:t>4</a:t>
              </a:r>
              <a:endParaRPr lang="el-GR" sz="1400" b="1">
                <a:solidFill>
                  <a:schemeClr val="bg1"/>
                </a:solidFill>
              </a:endParaRPr>
            </a:p>
          </p:txBody>
        </p:sp>
      </p:grpSp>
      <p:sp>
        <p:nvSpPr>
          <p:cNvPr id="25" name="Rectangle: Rounded Corners 24">
            <a:extLst>
              <a:ext uri="{FF2B5EF4-FFF2-40B4-BE49-F238E27FC236}">
                <a16:creationId xmlns:a16="http://schemas.microsoft.com/office/drawing/2014/main" id="{6A2EBE7C-F4E9-EFBF-1968-E8F472DF1AE8}"/>
              </a:ext>
            </a:extLst>
          </p:cNvPr>
          <p:cNvSpPr/>
          <p:nvPr/>
        </p:nvSpPr>
        <p:spPr>
          <a:xfrm>
            <a:off x="6338748" y="3852276"/>
            <a:ext cx="3452132" cy="1182801"/>
          </a:xfrm>
          <a:prstGeom prst="roundRect">
            <a:avLst/>
          </a:prstGeom>
          <a:noFill/>
          <a:ln>
            <a:solidFill>
              <a:srgbClr val="00808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l-GR"/>
          </a:p>
        </p:txBody>
      </p:sp>
      <p:grpSp>
        <p:nvGrpSpPr>
          <p:cNvPr id="38" name="Group 37">
            <a:extLst>
              <a:ext uri="{FF2B5EF4-FFF2-40B4-BE49-F238E27FC236}">
                <a16:creationId xmlns:a16="http://schemas.microsoft.com/office/drawing/2014/main" id="{25F937D7-99F0-F6D1-EB6F-64170FD112A5}"/>
              </a:ext>
            </a:extLst>
          </p:cNvPr>
          <p:cNvGrpSpPr/>
          <p:nvPr/>
        </p:nvGrpSpPr>
        <p:grpSpPr>
          <a:xfrm>
            <a:off x="6161976" y="3758877"/>
            <a:ext cx="350874" cy="336471"/>
            <a:chOff x="-1018102" y="1577510"/>
            <a:chExt cx="350874" cy="336471"/>
          </a:xfrm>
        </p:grpSpPr>
        <p:sp>
          <p:nvSpPr>
            <p:cNvPr id="47" name="Oval 46">
              <a:extLst>
                <a:ext uri="{FF2B5EF4-FFF2-40B4-BE49-F238E27FC236}">
                  <a16:creationId xmlns:a16="http://schemas.microsoft.com/office/drawing/2014/main" id="{EBEE723F-58A6-C324-2323-E301E64D04D8}"/>
                </a:ext>
              </a:extLst>
            </p:cNvPr>
            <p:cNvSpPr/>
            <p:nvPr/>
          </p:nvSpPr>
          <p:spPr>
            <a:xfrm rot="1080000">
              <a:off x="-1018102" y="1577510"/>
              <a:ext cx="350874" cy="336471"/>
            </a:xfrm>
            <a:prstGeom prst="ellipse">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2" name="TextBox 51">
              <a:extLst>
                <a:ext uri="{FF2B5EF4-FFF2-40B4-BE49-F238E27FC236}">
                  <a16:creationId xmlns:a16="http://schemas.microsoft.com/office/drawing/2014/main" id="{2D2057B8-E13E-315C-1C5E-907ADB611B68}"/>
                </a:ext>
              </a:extLst>
            </p:cNvPr>
            <p:cNvSpPr txBox="1"/>
            <p:nvPr/>
          </p:nvSpPr>
          <p:spPr>
            <a:xfrm>
              <a:off x="-974375" y="1605771"/>
              <a:ext cx="284052" cy="307777"/>
            </a:xfrm>
            <a:prstGeom prst="rect">
              <a:avLst/>
            </a:prstGeom>
            <a:noFill/>
          </p:spPr>
          <p:txBody>
            <a:bodyPr wrap="square" lIns="91440" tIns="45720" rIns="91440" bIns="45720" rtlCol="0" anchor="t">
              <a:spAutoFit/>
            </a:bodyPr>
            <a:lstStyle/>
            <a:p>
              <a:r>
                <a:rPr lang="en-US" sz="1400" b="1">
                  <a:solidFill>
                    <a:schemeClr val="bg1"/>
                  </a:solidFill>
                </a:rPr>
                <a:t>5</a:t>
              </a:r>
              <a:endParaRPr lang="en-US" sz="1400" b="1">
                <a:solidFill>
                  <a:schemeClr val="bg1"/>
                </a:solidFill>
                <a:cs typeface="Calibri"/>
              </a:endParaRPr>
            </a:p>
          </p:txBody>
        </p:sp>
      </p:grpSp>
      <p:grpSp>
        <p:nvGrpSpPr>
          <p:cNvPr id="58" name="Group 57">
            <a:extLst>
              <a:ext uri="{FF2B5EF4-FFF2-40B4-BE49-F238E27FC236}">
                <a16:creationId xmlns:a16="http://schemas.microsoft.com/office/drawing/2014/main" id="{2B6AA7D8-7AB8-17C4-9E6A-F8721E1A4B78}"/>
              </a:ext>
            </a:extLst>
          </p:cNvPr>
          <p:cNvGrpSpPr/>
          <p:nvPr/>
        </p:nvGrpSpPr>
        <p:grpSpPr>
          <a:xfrm>
            <a:off x="460917" y="2267966"/>
            <a:ext cx="406947" cy="336471"/>
            <a:chOff x="-1849375" y="2092107"/>
            <a:chExt cx="406947" cy="336471"/>
          </a:xfrm>
        </p:grpSpPr>
        <p:sp>
          <p:nvSpPr>
            <p:cNvPr id="60" name="Oval 59">
              <a:extLst>
                <a:ext uri="{FF2B5EF4-FFF2-40B4-BE49-F238E27FC236}">
                  <a16:creationId xmlns:a16="http://schemas.microsoft.com/office/drawing/2014/main" id="{4A962EAF-4C7F-EAEE-6FF4-FFC1EC79251F}"/>
                </a:ext>
              </a:extLst>
            </p:cNvPr>
            <p:cNvSpPr/>
            <p:nvPr/>
          </p:nvSpPr>
          <p:spPr>
            <a:xfrm>
              <a:off x="-1849375" y="2092107"/>
              <a:ext cx="350874" cy="336471"/>
            </a:xfrm>
            <a:prstGeom prst="ellipse">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 name="TextBox 60">
              <a:extLst>
                <a:ext uri="{FF2B5EF4-FFF2-40B4-BE49-F238E27FC236}">
                  <a16:creationId xmlns:a16="http://schemas.microsoft.com/office/drawing/2014/main" id="{9FD1AAF9-7CB8-4094-0C46-074F69A93D6F}"/>
                </a:ext>
              </a:extLst>
            </p:cNvPr>
            <p:cNvSpPr txBox="1"/>
            <p:nvPr/>
          </p:nvSpPr>
          <p:spPr>
            <a:xfrm>
              <a:off x="-1805648" y="2120367"/>
              <a:ext cx="363220" cy="307777"/>
            </a:xfrm>
            <a:prstGeom prst="rect">
              <a:avLst/>
            </a:prstGeom>
            <a:noFill/>
          </p:spPr>
          <p:txBody>
            <a:bodyPr wrap="square" lIns="91440" tIns="45720" rIns="91440" bIns="45720" rtlCol="0" anchor="t">
              <a:spAutoFit/>
            </a:bodyPr>
            <a:lstStyle/>
            <a:p>
              <a:r>
                <a:rPr lang="en-US" sz="1400" b="1">
                  <a:solidFill>
                    <a:schemeClr val="bg1"/>
                  </a:solidFill>
                  <a:cs typeface="Calibri"/>
                </a:rPr>
                <a:t>1</a:t>
              </a:r>
            </a:p>
          </p:txBody>
        </p:sp>
      </p:grpSp>
      <p:sp>
        <p:nvSpPr>
          <p:cNvPr id="73" name="Oval 72">
            <a:extLst>
              <a:ext uri="{FF2B5EF4-FFF2-40B4-BE49-F238E27FC236}">
                <a16:creationId xmlns:a16="http://schemas.microsoft.com/office/drawing/2014/main" id="{0EB5D454-B966-8240-2675-58064C9419C3}"/>
              </a:ext>
            </a:extLst>
          </p:cNvPr>
          <p:cNvSpPr/>
          <p:nvPr/>
        </p:nvSpPr>
        <p:spPr>
          <a:xfrm>
            <a:off x="7722172" y="2205567"/>
            <a:ext cx="350874" cy="336471"/>
          </a:xfrm>
          <a:prstGeom prst="ellipse">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87" name="Group 86">
            <a:extLst>
              <a:ext uri="{FF2B5EF4-FFF2-40B4-BE49-F238E27FC236}">
                <a16:creationId xmlns:a16="http://schemas.microsoft.com/office/drawing/2014/main" id="{BE2195CB-3C92-7879-4187-841F91AA5D14}"/>
              </a:ext>
            </a:extLst>
          </p:cNvPr>
          <p:cNvGrpSpPr/>
          <p:nvPr/>
        </p:nvGrpSpPr>
        <p:grpSpPr>
          <a:xfrm>
            <a:off x="4126062" y="2155532"/>
            <a:ext cx="2994670" cy="1733335"/>
            <a:chOff x="364844" y="3212925"/>
            <a:chExt cx="2654825" cy="1582601"/>
          </a:xfrm>
        </p:grpSpPr>
        <p:sp>
          <p:nvSpPr>
            <p:cNvPr id="59" name="Rectangle: Rounded Corners 58">
              <a:extLst>
                <a:ext uri="{FF2B5EF4-FFF2-40B4-BE49-F238E27FC236}">
                  <a16:creationId xmlns:a16="http://schemas.microsoft.com/office/drawing/2014/main" id="{2F3E283E-8EE3-9C4E-E086-E38624C88170}"/>
                </a:ext>
              </a:extLst>
            </p:cNvPr>
            <p:cNvSpPr/>
            <p:nvPr/>
          </p:nvSpPr>
          <p:spPr>
            <a:xfrm>
              <a:off x="592908" y="3380098"/>
              <a:ext cx="2426761" cy="1079579"/>
            </a:xfrm>
            <a:prstGeom prst="roundRect">
              <a:avLst/>
            </a:prstGeom>
            <a:ln>
              <a:solidFill>
                <a:srgbClr val="00808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l-GR" sz="1600"/>
            </a:p>
          </p:txBody>
        </p:sp>
        <p:sp>
          <p:nvSpPr>
            <p:cNvPr id="44" name="TextBox 43">
              <a:extLst>
                <a:ext uri="{FF2B5EF4-FFF2-40B4-BE49-F238E27FC236}">
                  <a16:creationId xmlns:a16="http://schemas.microsoft.com/office/drawing/2014/main" id="{C5A6669E-079A-A345-F2DD-43DBA442C4EC}"/>
                </a:ext>
              </a:extLst>
            </p:cNvPr>
            <p:cNvSpPr txBox="1"/>
            <p:nvPr/>
          </p:nvSpPr>
          <p:spPr>
            <a:xfrm>
              <a:off x="1015102" y="3472087"/>
              <a:ext cx="1992920" cy="1323439"/>
            </a:xfrm>
            <a:prstGeom prst="rect">
              <a:avLst/>
            </a:prstGeom>
            <a:noFill/>
          </p:spPr>
          <p:txBody>
            <a:bodyPr wrap="square">
              <a:spAutoFit/>
            </a:bodyPr>
            <a:lstStyle>
              <a:defPPr>
                <a:defRPr lang="en-US"/>
              </a:defPPr>
              <a:lvl1pPr>
                <a:defRPr kumimoji="0" sz="1100" b="0" i="0" u="none" strike="noStrike" cap="none" spc="0" normalizeH="0" baseline="0">
                  <a:ln>
                    <a:noFill/>
                  </a:ln>
                  <a:solidFill>
                    <a:srgbClr val="48413E">
                      <a:hueOff val="0"/>
                      <a:satOff val="0"/>
                      <a:lumOff val="0"/>
                      <a:alphaOff val="0"/>
                    </a:srgbClr>
                  </a:solidFill>
                  <a:effectLst/>
                  <a:uLnTx/>
                  <a:uFillTx/>
                  <a:latin typeface="Arial"/>
                </a:defRPr>
              </a:lvl1pPr>
            </a:lstStyle>
            <a:p>
              <a:r>
                <a:rPr lang="en-US" sz="1600">
                  <a:solidFill>
                    <a:schemeClr val="tx1"/>
                  </a:solidFill>
                </a:rPr>
                <a:t>Contribute to capacity building on </a:t>
              </a:r>
              <a:r>
                <a:rPr lang="en-US" sz="1600" b="1">
                  <a:solidFill>
                    <a:schemeClr val="tx1"/>
                  </a:solidFill>
                </a:rPr>
                <a:t>gender equality </a:t>
              </a:r>
              <a:r>
                <a:rPr lang="en-US" sz="1600">
                  <a:solidFill>
                    <a:schemeClr val="tx1"/>
                  </a:solidFill>
                </a:rPr>
                <a:t>&amp; inclusion in the local communities</a:t>
              </a:r>
              <a:endParaRPr lang="el-GR" sz="1600">
                <a:solidFill>
                  <a:schemeClr val="tx1"/>
                </a:solidFill>
              </a:endParaRPr>
            </a:p>
          </p:txBody>
        </p:sp>
        <p:pic>
          <p:nvPicPr>
            <p:cNvPr id="6" name="Graphic 5" descr="Man and woman with solid fill">
              <a:extLst>
                <a:ext uri="{FF2B5EF4-FFF2-40B4-BE49-F238E27FC236}">
                  <a16:creationId xmlns:a16="http://schemas.microsoft.com/office/drawing/2014/main" id="{B6B487EF-86B3-8CE3-5DF4-2445B5FF4AA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3885" y="3726873"/>
              <a:ext cx="354786" cy="354787"/>
            </a:xfrm>
            <a:prstGeom prst="rect">
              <a:avLst/>
            </a:prstGeom>
          </p:spPr>
        </p:pic>
        <p:grpSp>
          <p:nvGrpSpPr>
            <p:cNvPr id="81" name="Group 80">
              <a:extLst>
                <a:ext uri="{FF2B5EF4-FFF2-40B4-BE49-F238E27FC236}">
                  <a16:creationId xmlns:a16="http://schemas.microsoft.com/office/drawing/2014/main" id="{12ED8A10-2DA5-6578-ED47-A23D5C1346D0}"/>
                </a:ext>
              </a:extLst>
            </p:cNvPr>
            <p:cNvGrpSpPr/>
            <p:nvPr/>
          </p:nvGrpSpPr>
          <p:grpSpPr>
            <a:xfrm>
              <a:off x="364844" y="3212925"/>
              <a:ext cx="379953" cy="364119"/>
              <a:chOff x="-842667" y="1867192"/>
              <a:chExt cx="379953" cy="364119"/>
            </a:xfrm>
          </p:grpSpPr>
          <p:sp>
            <p:nvSpPr>
              <p:cNvPr id="82" name="Oval 81">
                <a:extLst>
                  <a:ext uri="{FF2B5EF4-FFF2-40B4-BE49-F238E27FC236}">
                    <a16:creationId xmlns:a16="http://schemas.microsoft.com/office/drawing/2014/main" id="{D1DFC981-0DFC-166D-A23C-2DF48A1C62D7}"/>
                  </a:ext>
                </a:extLst>
              </p:cNvPr>
              <p:cNvSpPr/>
              <p:nvPr/>
            </p:nvSpPr>
            <p:spPr>
              <a:xfrm rot="2700000">
                <a:off x="-849868" y="1874393"/>
                <a:ext cx="350874" cy="336471"/>
              </a:xfrm>
              <a:prstGeom prst="ellipse">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600"/>
              </a:p>
            </p:txBody>
          </p:sp>
          <p:sp>
            <p:nvSpPr>
              <p:cNvPr id="83" name="TextBox 82">
                <a:extLst>
                  <a:ext uri="{FF2B5EF4-FFF2-40B4-BE49-F238E27FC236}">
                    <a16:creationId xmlns:a16="http://schemas.microsoft.com/office/drawing/2014/main" id="{0D3DDA66-CF65-C473-605E-7E39BB43D0CF}"/>
                  </a:ext>
                </a:extLst>
              </p:cNvPr>
              <p:cNvSpPr txBox="1"/>
              <p:nvPr/>
            </p:nvSpPr>
            <p:spPr>
              <a:xfrm>
                <a:off x="-825934" y="1892757"/>
                <a:ext cx="363220" cy="338554"/>
              </a:xfrm>
              <a:prstGeom prst="rect">
                <a:avLst/>
              </a:prstGeom>
              <a:noFill/>
            </p:spPr>
            <p:txBody>
              <a:bodyPr wrap="square" lIns="91440" tIns="45720" rIns="91440" bIns="45720" rtlCol="0" anchor="t">
                <a:spAutoFit/>
              </a:bodyPr>
              <a:lstStyle/>
              <a:p>
                <a:r>
                  <a:rPr lang="en-US" sz="1600" b="1">
                    <a:solidFill>
                      <a:schemeClr val="bg1"/>
                    </a:solidFill>
                    <a:cs typeface="Calibri"/>
                  </a:rPr>
                  <a:t>2</a:t>
                </a:r>
              </a:p>
            </p:txBody>
          </p:sp>
        </p:grpSp>
      </p:grpSp>
      <p:grpSp>
        <p:nvGrpSpPr>
          <p:cNvPr id="88" name="Group 87">
            <a:extLst>
              <a:ext uri="{FF2B5EF4-FFF2-40B4-BE49-F238E27FC236}">
                <a16:creationId xmlns:a16="http://schemas.microsoft.com/office/drawing/2014/main" id="{65009A5E-17A0-4AC4-9CDA-29A32A197986}"/>
              </a:ext>
            </a:extLst>
          </p:cNvPr>
          <p:cNvGrpSpPr/>
          <p:nvPr/>
        </p:nvGrpSpPr>
        <p:grpSpPr>
          <a:xfrm>
            <a:off x="7756001" y="2214037"/>
            <a:ext cx="3189019" cy="1648289"/>
            <a:chOff x="345951" y="4499256"/>
            <a:chExt cx="2653925" cy="1504431"/>
          </a:xfrm>
        </p:grpSpPr>
        <p:sp>
          <p:nvSpPr>
            <p:cNvPr id="43" name="TextBox 42">
              <a:extLst>
                <a:ext uri="{FF2B5EF4-FFF2-40B4-BE49-F238E27FC236}">
                  <a16:creationId xmlns:a16="http://schemas.microsoft.com/office/drawing/2014/main" id="{86323200-E7E1-7A5F-BC9B-621318E259B8}"/>
                </a:ext>
              </a:extLst>
            </p:cNvPr>
            <p:cNvSpPr txBox="1"/>
            <p:nvPr/>
          </p:nvSpPr>
          <p:spPr>
            <a:xfrm>
              <a:off x="907841" y="4680248"/>
              <a:ext cx="2066245" cy="1323439"/>
            </a:xfrm>
            <a:prstGeom prst="rect">
              <a:avLst/>
            </a:prstGeom>
            <a:noFill/>
            <a:ln>
              <a:noFill/>
            </a:ln>
          </p:spPr>
          <p:txBody>
            <a:bodyPr wrap="square" lIns="91440" tIns="45720" rIns="91440" bIns="45720" anchor="t">
              <a:spAutoFit/>
            </a:bodyPr>
            <a:lstStyle>
              <a:defPPr>
                <a:defRPr lang="en-US"/>
              </a:defPPr>
              <a:lvl1pPr>
                <a:defRPr kumimoji="0" sz="1100" b="0" i="0" u="none" strike="noStrike" cap="none" spc="0" normalizeH="0" baseline="0">
                  <a:ln>
                    <a:noFill/>
                  </a:ln>
                  <a:solidFill>
                    <a:srgbClr val="48413E">
                      <a:hueOff val="0"/>
                      <a:satOff val="0"/>
                      <a:lumOff val="0"/>
                      <a:alphaOff val="0"/>
                    </a:srgbClr>
                  </a:solidFill>
                  <a:effectLst/>
                  <a:uLnTx/>
                  <a:uFillTx/>
                  <a:latin typeface="Arial"/>
                </a:defRPr>
              </a:lvl1pPr>
            </a:lstStyle>
            <a:p>
              <a:r>
                <a:rPr lang="en-US" sz="1600"/>
                <a:t>Support community environmental </a:t>
              </a:r>
              <a:r>
                <a:rPr lang="en-US" sz="1600" b="1"/>
                <a:t>resilience</a:t>
              </a:r>
              <a:r>
                <a:rPr lang="en-US" sz="1600"/>
                <a:t> (focus on climate change adaptation</a:t>
              </a:r>
              <a:r>
                <a:rPr lang="el-GR" sz="1600"/>
                <a:t>)</a:t>
              </a:r>
            </a:p>
          </p:txBody>
        </p:sp>
        <p:sp>
          <p:nvSpPr>
            <p:cNvPr id="55" name="Rectangle: Rounded Corners 54">
              <a:extLst>
                <a:ext uri="{FF2B5EF4-FFF2-40B4-BE49-F238E27FC236}">
                  <a16:creationId xmlns:a16="http://schemas.microsoft.com/office/drawing/2014/main" id="{7AAB4E1D-DFB4-31B7-568B-6672729B8A85}"/>
                </a:ext>
              </a:extLst>
            </p:cNvPr>
            <p:cNvSpPr/>
            <p:nvPr/>
          </p:nvSpPr>
          <p:spPr>
            <a:xfrm>
              <a:off x="574869" y="4593735"/>
              <a:ext cx="2425007" cy="1079968"/>
            </a:xfrm>
            <a:prstGeom prst="roundRect">
              <a:avLst/>
            </a:prstGeom>
            <a:noFill/>
            <a:ln>
              <a:solidFill>
                <a:srgbClr val="00808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l-GR" sz="1600"/>
            </a:p>
          </p:txBody>
        </p:sp>
        <p:sp>
          <p:nvSpPr>
            <p:cNvPr id="75" name="TextBox 74">
              <a:extLst>
                <a:ext uri="{FF2B5EF4-FFF2-40B4-BE49-F238E27FC236}">
                  <a16:creationId xmlns:a16="http://schemas.microsoft.com/office/drawing/2014/main" id="{B082DEC9-C525-DCDE-2C2C-5C8365FFD3C1}"/>
                </a:ext>
              </a:extLst>
            </p:cNvPr>
            <p:cNvSpPr txBox="1"/>
            <p:nvPr/>
          </p:nvSpPr>
          <p:spPr>
            <a:xfrm>
              <a:off x="345951" y="4499256"/>
              <a:ext cx="284052" cy="338554"/>
            </a:xfrm>
            <a:prstGeom prst="rect">
              <a:avLst/>
            </a:prstGeom>
            <a:noFill/>
          </p:spPr>
          <p:txBody>
            <a:bodyPr wrap="square" lIns="91440" tIns="45720" rIns="91440" bIns="45720" rtlCol="0" anchor="t">
              <a:spAutoFit/>
            </a:bodyPr>
            <a:lstStyle/>
            <a:p>
              <a:r>
                <a:rPr lang="en-US" sz="1600" b="1">
                  <a:solidFill>
                    <a:schemeClr val="bg1"/>
                  </a:solidFill>
                </a:rPr>
                <a:t>3</a:t>
              </a:r>
              <a:endParaRPr lang="en-US" sz="1600" b="1">
                <a:solidFill>
                  <a:schemeClr val="bg1"/>
                </a:solidFill>
                <a:cs typeface="Calibri"/>
              </a:endParaRPr>
            </a:p>
          </p:txBody>
        </p:sp>
        <p:sp>
          <p:nvSpPr>
            <p:cNvPr id="84" name="Oval 83" descr="Cloud With Lightning And Rain with solid fill">
              <a:extLst>
                <a:ext uri="{FF2B5EF4-FFF2-40B4-BE49-F238E27FC236}">
                  <a16:creationId xmlns:a16="http://schemas.microsoft.com/office/drawing/2014/main" id="{ECA9B9CB-82D9-59D3-1722-145A6F60E770}"/>
                </a:ext>
              </a:extLst>
            </p:cNvPr>
            <p:cNvSpPr/>
            <p:nvPr/>
          </p:nvSpPr>
          <p:spPr>
            <a:xfrm>
              <a:off x="630003" y="4960910"/>
              <a:ext cx="314917" cy="308862"/>
            </a:xfrm>
            <a:prstGeom prst="ellipse">
              <a:avLst/>
            </a:prstGeom>
            <a: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600" b="0" i="0" u="none" strike="noStrike" kern="1200" cap="none" spc="0" normalizeH="0" baseline="0" noProof="0">
                <a:ln>
                  <a:noFill/>
                </a:ln>
                <a:solidFill>
                  <a:srgbClr val="FFFFFF"/>
                </a:solidFill>
                <a:effectLst/>
                <a:uLnTx/>
                <a:uFillTx/>
                <a:latin typeface="Arial"/>
                <a:ea typeface="+mn-ea"/>
                <a:cs typeface="+mn-cs"/>
              </a:endParaRPr>
            </a:p>
          </p:txBody>
        </p:sp>
      </p:grpSp>
      <p:pic>
        <p:nvPicPr>
          <p:cNvPr id="7" name="Picture 6">
            <a:extLst>
              <a:ext uri="{FF2B5EF4-FFF2-40B4-BE49-F238E27FC236}">
                <a16:creationId xmlns:a16="http://schemas.microsoft.com/office/drawing/2014/main" id="{B697DF51-6ED2-AB37-238A-149A08D4D5E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sp>
        <p:nvSpPr>
          <p:cNvPr id="8" name="Title 3">
            <a:extLst>
              <a:ext uri="{FF2B5EF4-FFF2-40B4-BE49-F238E27FC236}">
                <a16:creationId xmlns:a16="http://schemas.microsoft.com/office/drawing/2014/main" id="{40A9FF74-7256-540C-D49D-1927889FE8F4}"/>
              </a:ext>
            </a:extLst>
          </p:cNvPr>
          <p:cNvSpPr txBox="1">
            <a:spLocks/>
          </p:cNvSpPr>
          <p:nvPr/>
        </p:nvSpPr>
        <p:spPr>
          <a:xfrm>
            <a:off x="660403" y="532325"/>
            <a:ext cx="9584705" cy="755245"/>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45720" rIns="91440" bIns="45720" anchor="ctr" anchorCtr="0">
            <a:noAutofit/>
          </a:bodyPr>
          <a:lstStyle>
            <a:lvl1pPr marL="0" indent="0" algn="l" defTabSz="914400" rtl="0" eaLnBrk="1" latinLnBrk="0" hangingPunct="1">
              <a:lnSpc>
                <a:spcPct val="100000"/>
              </a:lnSpc>
              <a:spcBef>
                <a:spcPct val="20000"/>
              </a:spcBef>
              <a:spcAft>
                <a:spcPts val="0"/>
              </a:spcAft>
              <a:buNone/>
              <a:defRPr kumimoji="0" sz="4000" b="0" i="0" u="none" kern="1200" cap="none" baseline="0">
                <a:solidFill>
                  <a:schemeClr val="tx2"/>
                </a:solidFill>
                <a:latin typeface="Calibri Light" panose="020F0302020204030204" pitchFamily="34" charset="0"/>
                <a:ea typeface="+mj-ea"/>
                <a:cs typeface="Calibri Light" panose="020F0302020204030204" pitchFamily="34" charset="0"/>
              </a:defRPr>
            </a:lvl1pPr>
          </a:lstStyle>
          <a:p>
            <a:r>
              <a:rPr lang="en-US" sz="3200">
                <a:sym typeface="Georgia"/>
              </a:rPr>
              <a:t>Creating lasting positive impacts </a:t>
            </a:r>
            <a:br>
              <a:rPr lang="en-US" sz="3200">
                <a:sym typeface="Georgia"/>
              </a:rPr>
            </a:br>
            <a:r>
              <a:rPr lang="en-US" sz="3200">
                <a:sym typeface="Georgia"/>
              </a:rPr>
              <a:t>for the communities</a:t>
            </a:r>
            <a:endParaRPr lang="en-US" sz="3200"/>
          </a:p>
        </p:txBody>
      </p:sp>
    </p:spTree>
    <p:extLst>
      <p:ext uri="{BB962C8B-B14F-4D97-AF65-F5344CB8AC3E}">
        <p14:creationId xmlns:p14="http://schemas.microsoft.com/office/powerpoint/2010/main" val="16463006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BCB81-1470-D9EB-A09A-8C4AD92A2BFB}"/>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1A0CEA45-A5D2-8AE2-77F7-17D364F76611}"/>
              </a:ext>
            </a:extLst>
          </p:cNvPr>
          <p:cNvGraphicFramePr/>
          <p:nvPr>
            <p:extLst>
              <p:ext uri="{D42A27DB-BD31-4B8C-83A1-F6EECF244321}">
                <p14:modId xmlns:p14="http://schemas.microsoft.com/office/powerpoint/2010/main" val="3323892507"/>
              </p:ext>
            </p:extLst>
          </p:nvPr>
        </p:nvGraphicFramePr>
        <p:xfrm>
          <a:off x="323850" y="1232451"/>
          <a:ext cx="7533934" cy="4393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50ACF510-8EA5-4605-5503-C5C1F70ABE83}"/>
              </a:ext>
            </a:extLst>
          </p:cNvPr>
          <p:cNvSpPr>
            <a:spLocks noGrp="1"/>
          </p:cNvSpPr>
          <p:nvPr>
            <p:ph type="title"/>
          </p:nvPr>
        </p:nvSpPr>
        <p:spPr>
          <a:xfrm>
            <a:off x="340996" y="365474"/>
            <a:ext cx="7552938" cy="492443"/>
          </a:xfrm>
          <a:noFill/>
          <a:ln/>
        </p:spPr>
        <p:txBody>
          <a:bodyPr vert="horz" wrap="square" lIns="0" tIns="45720" rIns="91440" bIns="45720" anchor="ctr" anchorCtr="0">
            <a:noAutofit/>
          </a:bodyPr>
          <a:lstStyle/>
          <a:p>
            <a:r>
              <a:rPr lang="en-GB" sz="3200"/>
              <a:t>Skills &amp; Community Capacity Development</a:t>
            </a:r>
          </a:p>
        </p:txBody>
      </p:sp>
      <p:sp>
        <p:nvSpPr>
          <p:cNvPr id="4" name="Slide Number Placeholder 3">
            <a:extLst>
              <a:ext uri="{FF2B5EF4-FFF2-40B4-BE49-F238E27FC236}">
                <a16:creationId xmlns:a16="http://schemas.microsoft.com/office/drawing/2014/main" id="{124A428C-FC61-5E7E-C734-62ACAF4EBA3D}"/>
              </a:ext>
            </a:extLst>
          </p:cNvPr>
          <p:cNvSpPr>
            <a:spLocks noGrp="1"/>
          </p:cNvSpPr>
          <p:nvPr>
            <p:ph type="sldNum" sz="quarter" idx="4"/>
          </p:nvPr>
        </p:nvSpPr>
        <p:spPr/>
        <p:txBody>
          <a:bodyPr/>
          <a:lstStyle/>
          <a:p>
            <a:pPr>
              <a:defRPr/>
            </a:pPr>
            <a:fld id="{D65ACB9B-F2BC-4FE9-9640-F5E580D0F44C}" type="slidenum">
              <a:rPr lang="en-US" altLang="en-US" smtClean="0"/>
              <a:pPr>
                <a:defRPr/>
              </a:pPr>
              <a:t>7</a:t>
            </a:fld>
            <a:endParaRPr lang="en-US" altLang="en-US"/>
          </a:p>
        </p:txBody>
      </p:sp>
      <p:pic>
        <p:nvPicPr>
          <p:cNvPr id="13" name="Picture 12">
            <a:extLst>
              <a:ext uri="{FF2B5EF4-FFF2-40B4-BE49-F238E27FC236}">
                <a16:creationId xmlns:a16="http://schemas.microsoft.com/office/drawing/2014/main" id="{29477DD9-A7BE-777D-5553-A94B222591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pic>
        <p:nvPicPr>
          <p:cNvPr id="14" name="Picture 13" descr="A person in a yellow vest driving a video game&#10;&#10;Description automatically generated">
            <a:extLst>
              <a:ext uri="{FF2B5EF4-FFF2-40B4-BE49-F238E27FC236}">
                <a16:creationId xmlns:a16="http://schemas.microsoft.com/office/drawing/2014/main" id="{ED0216E2-F9D3-7077-A87F-75DDEA22BB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59971" y="1005035"/>
            <a:ext cx="3227256" cy="2423965"/>
          </a:xfrm>
          <a:prstGeom prst="rect">
            <a:avLst/>
          </a:prstGeom>
        </p:spPr>
      </p:pic>
      <p:pic>
        <p:nvPicPr>
          <p:cNvPr id="16" name="Picture 15" descr="A person wearing virtual reality headset&#10;&#10;Description automatically generated">
            <a:extLst>
              <a:ext uri="{FF2B5EF4-FFF2-40B4-BE49-F238E27FC236}">
                <a16:creationId xmlns:a16="http://schemas.microsoft.com/office/drawing/2014/main" id="{3E9F4DAF-3A14-8B6D-CC0A-BCDDC6FC27E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64621" y="3429000"/>
            <a:ext cx="3758025" cy="2396523"/>
          </a:xfrm>
          <a:prstGeom prst="rect">
            <a:avLst/>
          </a:prstGeom>
        </p:spPr>
      </p:pic>
    </p:spTree>
    <p:extLst>
      <p:ext uri="{BB962C8B-B14F-4D97-AF65-F5344CB8AC3E}">
        <p14:creationId xmlns:p14="http://schemas.microsoft.com/office/powerpoint/2010/main" val="319433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A13CC-D295-70A7-F8B1-7C1B0CC9716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E77A3F4-FEF6-5248-C0AB-983A661B3D01}"/>
              </a:ext>
            </a:extLst>
          </p:cNvPr>
          <p:cNvSpPr>
            <a:spLocks noGrp="1"/>
          </p:cNvSpPr>
          <p:nvPr>
            <p:ph type="title"/>
          </p:nvPr>
        </p:nvSpPr>
        <p:spPr>
          <a:xfrm>
            <a:off x="340996" y="365474"/>
            <a:ext cx="7552938" cy="492443"/>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GB" sz="2400">
                <a:latin typeface="Calibri Light"/>
                <a:cs typeface="Calibri Light"/>
              </a:rPr>
              <a:t>Innovative Environmental Practices &amp; Biodiversity Protection</a:t>
            </a:r>
            <a:endParaRPr lang="en-US" sz="2400">
              <a:latin typeface="Calibri Light"/>
              <a:cs typeface="Calibri Light"/>
            </a:endParaRPr>
          </a:p>
        </p:txBody>
      </p:sp>
      <p:sp>
        <p:nvSpPr>
          <p:cNvPr id="4" name="Slide Number Placeholder 3">
            <a:extLst>
              <a:ext uri="{FF2B5EF4-FFF2-40B4-BE49-F238E27FC236}">
                <a16:creationId xmlns:a16="http://schemas.microsoft.com/office/drawing/2014/main" id="{CC70333A-EA03-51E9-3CC5-4A96B0A61E08}"/>
              </a:ext>
            </a:extLst>
          </p:cNvPr>
          <p:cNvSpPr>
            <a:spLocks noGrp="1"/>
          </p:cNvSpPr>
          <p:nvPr>
            <p:ph type="sldNum" sz="quarter" idx="4"/>
          </p:nvPr>
        </p:nvSpPr>
        <p:spPr/>
        <p:txBody>
          <a:bodyPr/>
          <a:lstStyle/>
          <a:p>
            <a:pPr>
              <a:defRPr/>
            </a:pPr>
            <a:fld id="{D65ACB9B-F2BC-4FE9-9640-F5E580D0F44C}" type="slidenum">
              <a:rPr lang="en-US" altLang="en-US" smtClean="0"/>
              <a:pPr>
                <a:defRPr/>
              </a:pPr>
              <a:t>8</a:t>
            </a:fld>
            <a:endParaRPr lang="en-US" altLang="en-US"/>
          </a:p>
        </p:txBody>
      </p:sp>
      <p:pic>
        <p:nvPicPr>
          <p:cNvPr id="2" name="Picture 1">
            <a:extLst>
              <a:ext uri="{FF2B5EF4-FFF2-40B4-BE49-F238E27FC236}">
                <a16:creationId xmlns:a16="http://schemas.microsoft.com/office/drawing/2014/main" id="{74E5825A-B829-5FF4-A093-DF9BB27D5F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grpSp>
        <p:nvGrpSpPr>
          <p:cNvPr id="44" name="Group 43">
            <a:extLst>
              <a:ext uri="{FF2B5EF4-FFF2-40B4-BE49-F238E27FC236}">
                <a16:creationId xmlns:a16="http://schemas.microsoft.com/office/drawing/2014/main" id="{10A718F1-1306-2362-BEC9-9F2FC52FD621}"/>
              </a:ext>
            </a:extLst>
          </p:cNvPr>
          <p:cNvGrpSpPr/>
          <p:nvPr/>
        </p:nvGrpSpPr>
        <p:grpSpPr>
          <a:xfrm>
            <a:off x="464909" y="1056278"/>
            <a:ext cx="11144479" cy="4423939"/>
            <a:chOff x="464909" y="1056278"/>
            <a:chExt cx="11144479" cy="4423939"/>
          </a:xfrm>
        </p:grpSpPr>
        <p:sp>
          <p:nvSpPr>
            <p:cNvPr id="33" name="Freeform: Shape 32">
              <a:extLst>
                <a:ext uri="{FF2B5EF4-FFF2-40B4-BE49-F238E27FC236}">
                  <a16:creationId xmlns:a16="http://schemas.microsoft.com/office/drawing/2014/main" id="{7891CC54-A0F8-F80C-4263-41E9E98C0BDF}"/>
                </a:ext>
              </a:extLst>
            </p:cNvPr>
            <p:cNvSpPr/>
            <p:nvPr/>
          </p:nvSpPr>
          <p:spPr>
            <a:xfrm>
              <a:off x="464909"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Dry-stack tailings management</a:t>
              </a:r>
              <a:endParaRPr lang="en-GB" sz="1600" kern="1200"/>
            </a:p>
          </p:txBody>
        </p:sp>
        <p:pic>
          <p:nvPicPr>
            <p:cNvPr id="43" name="Picture 42">
              <a:extLst>
                <a:ext uri="{FF2B5EF4-FFF2-40B4-BE49-F238E27FC236}">
                  <a16:creationId xmlns:a16="http://schemas.microsoft.com/office/drawing/2014/main" id="{7816C662-F1BB-65FC-A2C6-9E69F1415C99}"/>
                </a:ext>
              </a:extLst>
            </p:cNvPr>
            <p:cNvPicPr>
              <a:picLocks noChangeAspect="1"/>
            </p:cNvPicPr>
            <p:nvPr/>
          </p:nvPicPr>
          <p:blipFill>
            <a:blip r:embed="rId4"/>
            <a:stretch>
              <a:fillRect/>
            </a:stretch>
          </p:blipFill>
          <p:spPr>
            <a:xfrm>
              <a:off x="4786772" y="1389960"/>
              <a:ext cx="6822616" cy="4090257"/>
            </a:xfrm>
            <a:prstGeom prst="rect">
              <a:avLst/>
            </a:prstGeom>
          </p:spPr>
        </p:pic>
      </p:grpSp>
    </p:spTree>
    <p:extLst>
      <p:ext uri="{BB962C8B-B14F-4D97-AF65-F5344CB8AC3E}">
        <p14:creationId xmlns:p14="http://schemas.microsoft.com/office/powerpoint/2010/main" val="2534270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B6B47-F5A3-BAD5-CF10-2B50F626338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77D32EF-7EA7-A9B3-9070-582E07363E25}"/>
              </a:ext>
            </a:extLst>
          </p:cNvPr>
          <p:cNvSpPr>
            <a:spLocks noGrp="1"/>
          </p:cNvSpPr>
          <p:nvPr>
            <p:ph type="title"/>
          </p:nvPr>
        </p:nvSpPr>
        <p:spPr>
          <a:xfrm>
            <a:off x="340996" y="365474"/>
            <a:ext cx="7552938" cy="492443"/>
          </a:xfrm>
          <a:noFill/>
          <a:ln>
            <a:noFill/>
          </a:ln>
          <a:extLst>
            <a:ext uri="{909E8E84-426E-40DD-AFC4-6F175D3DCCD1}">
              <a14:hiddenFill xmlns:a14="http://schemas.microsoft.com/office/drawing/2010/main">
                <a:solidFill>
                  <a:srgbClr val="FFFFFF">
                    <a:alpha val="0"/>
                  </a:srgbClr>
                </a:solidFill>
              </a14:hiddenFill>
            </a:ext>
          </a:extLst>
        </p:spPr>
        <p:txBody>
          <a:bodyPr spcFirstLastPara="1" vert="horz" wrap="square" lIns="0" tIns="45720" rIns="91440" bIns="45720" anchor="ctr" anchorCtr="0">
            <a:noAutofit/>
          </a:bodyPr>
          <a:lstStyle/>
          <a:p>
            <a:pPr>
              <a:buClr>
                <a:schemeClr val="dk1"/>
              </a:buClr>
              <a:buSzPts val="3200"/>
              <a:buFont typeface="Georgia"/>
            </a:pPr>
            <a:r>
              <a:rPr lang="en-GB" sz="2400">
                <a:latin typeface="Calibri Light"/>
                <a:cs typeface="Calibri Light"/>
              </a:rPr>
              <a:t>Innovative Environmental Practices &amp; Biodiversity Protection</a:t>
            </a:r>
            <a:endParaRPr lang="en-US" sz="2400">
              <a:latin typeface="Calibri Light"/>
              <a:cs typeface="Calibri Light"/>
            </a:endParaRPr>
          </a:p>
        </p:txBody>
      </p:sp>
      <p:sp>
        <p:nvSpPr>
          <p:cNvPr id="4" name="Slide Number Placeholder 3">
            <a:extLst>
              <a:ext uri="{FF2B5EF4-FFF2-40B4-BE49-F238E27FC236}">
                <a16:creationId xmlns:a16="http://schemas.microsoft.com/office/drawing/2014/main" id="{5ED6F029-00A4-4AC6-23B3-AFC3FC89F040}"/>
              </a:ext>
            </a:extLst>
          </p:cNvPr>
          <p:cNvSpPr>
            <a:spLocks noGrp="1"/>
          </p:cNvSpPr>
          <p:nvPr>
            <p:ph type="sldNum" sz="quarter" idx="4"/>
          </p:nvPr>
        </p:nvSpPr>
        <p:spPr/>
        <p:txBody>
          <a:bodyPr/>
          <a:lstStyle/>
          <a:p>
            <a:pPr>
              <a:defRPr/>
            </a:pPr>
            <a:fld id="{D65ACB9B-F2BC-4FE9-9640-F5E580D0F44C}" type="slidenum">
              <a:rPr lang="en-US" altLang="en-US" smtClean="0"/>
              <a:pPr>
                <a:defRPr/>
              </a:pPr>
              <a:t>9</a:t>
            </a:fld>
            <a:endParaRPr lang="en-US" altLang="en-US"/>
          </a:p>
        </p:txBody>
      </p:sp>
      <p:pic>
        <p:nvPicPr>
          <p:cNvPr id="2" name="Picture 1">
            <a:extLst>
              <a:ext uri="{FF2B5EF4-FFF2-40B4-BE49-F238E27FC236}">
                <a16:creationId xmlns:a16="http://schemas.microsoft.com/office/drawing/2014/main" id="{9D7E66D3-8149-3E08-C583-5C7CA065A8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3934" y="512592"/>
            <a:ext cx="4128712" cy="345325"/>
          </a:xfrm>
          <a:prstGeom prst="rect">
            <a:avLst/>
          </a:prstGeom>
        </p:spPr>
      </p:pic>
      <p:grpSp>
        <p:nvGrpSpPr>
          <p:cNvPr id="36" name="Group 35">
            <a:extLst>
              <a:ext uri="{FF2B5EF4-FFF2-40B4-BE49-F238E27FC236}">
                <a16:creationId xmlns:a16="http://schemas.microsoft.com/office/drawing/2014/main" id="{89919F43-9BA9-0F6D-A993-39A4C5278AC4}"/>
              </a:ext>
            </a:extLst>
          </p:cNvPr>
          <p:cNvGrpSpPr/>
          <p:nvPr/>
        </p:nvGrpSpPr>
        <p:grpSpPr>
          <a:xfrm>
            <a:off x="1633293" y="1056278"/>
            <a:ext cx="9926671" cy="5679291"/>
            <a:chOff x="1633293" y="1056278"/>
            <a:chExt cx="9926671" cy="5679291"/>
          </a:xfrm>
        </p:grpSpPr>
        <p:sp>
          <p:nvSpPr>
            <p:cNvPr id="34" name="Freeform: Shape 33">
              <a:extLst>
                <a:ext uri="{FF2B5EF4-FFF2-40B4-BE49-F238E27FC236}">
                  <a16:creationId xmlns:a16="http://schemas.microsoft.com/office/drawing/2014/main" id="{EFB5DD55-EA35-6419-D3EC-ED70125C9F31}"/>
                </a:ext>
              </a:extLst>
            </p:cNvPr>
            <p:cNvSpPr/>
            <p:nvPr/>
          </p:nvSpPr>
          <p:spPr>
            <a:xfrm>
              <a:off x="2165542"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5340456"/>
                <a:satOff val="13942"/>
                <a:lumOff val="12941"/>
                <a:alphaOff val="0"/>
              </a:schemeClr>
            </a:fillRef>
            <a:effectRef idx="0">
              <a:schemeClr val="accent4">
                <a:alpha val="50000"/>
                <a:hueOff val="-5340456"/>
                <a:satOff val="13942"/>
                <a:lumOff val="12941"/>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Reclamation of legacy mine sites</a:t>
              </a:r>
              <a:endParaRPr lang="en-GB" sz="1600" kern="1200"/>
            </a:p>
          </p:txBody>
        </p:sp>
        <p:grpSp>
          <p:nvGrpSpPr>
            <p:cNvPr id="31" name="Group 30">
              <a:extLst>
                <a:ext uri="{FF2B5EF4-FFF2-40B4-BE49-F238E27FC236}">
                  <a16:creationId xmlns:a16="http://schemas.microsoft.com/office/drawing/2014/main" id="{8DBE66FE-E8BC-F13A-D67D-2D27250C5A2C}"/>
                </a:ext>
              </a:extLst>
            </p:cNvPr>
            <p:cNvGrpSpPr/>
            <p:nvPr/>
          </p:nvGrpSpPr>
          <p:grpSpPr>
            <a:xfrm>
              <a:off x="6714502" y="1319745"/>
              <a:ext cx="4845462" cy="4304169"/>
              <a:chOff x="6714502" y="1319745"/>
              <a:chExt cx="4845462" cy="4304169"/>
            </a:xfrm>
          </p:grpSpPr>
          <p:sp>
            <p:nvSpPr>
              <p:cNvPr id="8" name="Rectangle 7">
                <a:extLst>
                  <a:ext uri="{FF2B5EF4-FFF2-40B4-BE49-F238E27FC236}">
                    <a16:creationId xmlns:a16="http://schemas.microsoft.com/office/drawing/2014/main" id="{BA6E139A-158D-EE85-CA38-EEFF419686A1}"/>
                  </a:ext>
                </a:extLst>
              </p:cNvPr>
              <p:cNvSpPr/>
              <p:nvPr/>
            </p:nvSpPr>
            <p:spPr>
              <a:xfrm>
                <a:off x="6714502" y="1388529"/>
                <a:ext cx="2197323" cy="298768"/>
              </a:xfrm>
              <a:prstGeom prst="rect">
                <a:avLst/>
              </a:prstGeom>
              <a:noFill/>
              <a:ln w="12700" cap="flat" cmpd="sng" algn="ctr">
                <a:noFill/>
                <a:prstDash val="solid"/>
                <a:miter lim="800000"/>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a:ln>
                      <a:noFill/>
                    </a:ln>
                    <a:solidFill>
                      <a:srgbClr val="000000"/>
                    </a:solidFill>
                    <a:effectLst/>
                    <a:uLnTx/>
                    <a:uFillTx/>
                    <a:latin typeface="Arial" panose="020B0604020202020204"/>
                    <a:ea typeface="+mn-ea"/>
                    <a:cs typeface="+mn-cs"/>
                  </a:rPr>
                  <a:t>Αποκατάσταση παλαιού χώρου απόθεσης στείρων μεταλλείου Πλατείας Φιρέ (28 στρ.)</a:t>
                </a:r>
                <a:endParaRPr kumimoji="0" lang="en-US" sz="9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1A3BE73-B7EA-1D8B-6FFF-561DF5E33D6E}"/>
                  </a:ext>
                </a:extLst>
              </p:cNvPr>
              <p:cNvSpPr/>
              <p:nvPr/>
            </p:nvSpPr>
            <p:spPr>
              <a:xfrm>
                <a:off x="9100976" y="1319745"/>
                <a:ext cx="2098498" cy="298768"/>
              </a:xfrm>
              <a:prstGeom prst="rect">
                <a:avLst/>
              </a:prstGeom>
              <a:noFill/>
              <a:ln w="12700" cap="flat" cmpd="sng" algn="ctr">
                <a:noFill/>
                <a:prstDash val="solid"/>
                <a:miter lim="800000"/>
              </a:ln>
              <a:effectLst/>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a:ln>
                      <a:noFill/>
                    </a:ln>
                    <a:solidFill>
                      <a:srgbClr val="000000"/>
                    </a:solidFill>
                    <a:effectLst/>
                    <a:uLnTx/>
                    <a:uFillTx/>
                    <a:latin typeface="Arial" panose="020B0604020202020204"/>
                    <a:ea typeface="+mn-ea"/>
                    <a:cs typeface="+mn-cs"/>
                  </a:rPr>
                  <a:t>Αποκατάσταση παλαιών σωρών αρσενοπυρίτη Ολυμπιάδας </a:t>
                </a:r>
                <a:r>
                  <a:rPr kumimoji="0" lang="en-US" sz="900" b="0" i="0" u="none" strike="noStrike" kern="0" cap="none" spc="0" normalizeH="0" baseline="0" noProof="0">
                    <a:ln>
                      <a:noFill/>
                    </a:ln>
                    <a:solidFill>
                      <a:srgbClr val="000000"/>
                    </a:solidFill>
                    <a:effectLst/>
                    <a:uLnTx/>
                    <a:uFillTx/>
                    <a:latin typeface="Arial" panose="020B0604020202020204"/>
                    <a:ea typeface="+mn-ea"/>
                    <a:cs typeface="+mn-cs"/>
                  </a:rPr>
                  <a:t>(32 </a:t>
                </a:r>
                <a:r>
                  <a:rPr kumimoji="0" lang="el-GR" sz="900" b="0" i="0" u="none" strike="noStrike" kern="0" cap="none" spc="0" normalizeH="0" baseline="0" noProof="0">
                    <a:ln>
                      <a:noFill/>
                    </a:ln>
                    <a:solidFill>
                      <a:srgbClr val="000000"/>
                    </a:solidFill>
                    <a:effectLst/>
                    <a:uLnTx/>
                    <a:uFillTx/>
                    <a:latin typeface="Arial" panose="020B0604020202020204"/>
                    <a:ea typeface="+mn-ea"/>
                    <a:cs typeface="+mn-cs"/>
                  </a:rPr>
                  <a:t>στρ.</a:t>
                </a:r>
                <a:r>
                  <a:rPr kumimoji="0" lang="en-US" sz="900" b="0" i="0" u="none" strike="noStrike" kern="0" cap="none" spc="0" normalizeH="0" baseline="0" noProof="0">
                    <a:ln>
                      <a:noFill/>
                    </a:ln>
                    <a:solidFill>
                      <a:srgbClr val="000000"/>
                    </a:solidFill>
                    <a:effectLst/>
                    <a:uLnTx/>
                    <a:uFillTx/>
                    <a:latin typeface="Arial" panose="020B0604020202020204"/>
                    <a:ea typeface="+mn-ea"/>
                    <a:cs typeface="+mn-cs"/>
                  </a:rPr>
                  <a:t>)</a:t>
                </a:r>
              </a:p>
            </p:txBody>
          </p:sp>
          <p:sp>
            <p:nvSpPr>
              <p:cNvPr id="10" name="Rectangle 9">
                <a:extLst>
                  <a:ext uri="{FF2B5EF4-FFF2-40B4-BE49-F238E27FC236}">
                    <a16:creationId xmlns:a16="http://schemas.microsoft.com/office/drawing/2014/main" id="{66D30029-EBD5-18E1-15F0-895877338283}"/>
                  </a:ext>
                </a:extLst>
              </p:cNvPr>
              <p:cNvSpPr/>
              <p:nvPr/>
            </p:nvSpPr>
            <p:spPr>
              <a:xfrm>
                <a:off x="6714502" y="5003257"/>
                <a:ext cx="2597607" cy="62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
                    <a:srgbClr val="027C64"/>
                  </a:buClr>
                  <a:buSzTx/>
                  <a:buFontTx/>
                  <a:buNone/>
                  <a:tabLst/>
                  <a:defRPr/>
                </a:pPr>
                <a:endParaRPr kumimoji="0" lang="en-US" sz="800" b="0" i="0" u="none" strike="noStrike" kern="1200" cap="none" spc="0" normalizeH="0" baseline="0" noProof="0">
                  <a:ln>
                    <a:noFill/>
                  </a:ln>
                  <a:solidFill>
                    <a:srgbClr val="48413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AE02F156-CFF2-EEE3-D2D9-87C20650CA47}"/>
                  </a:ext>
                </a:extLst>
              </p:cNvPr>
              <p:cNvSpPr/>
              <p:nvPr/>
            </p:nvSpPr>
            <p:spPr>
              <a:xfrm>
                <a:off x="9075909" y="5000585"/>
                <a:ext cx="2392796" cy="62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
                    <a:srgbClr val="027C64"/>
                  </a:buClr>
                  <a:buSzTx/>
                  <a:buFontTx/>
                  <a:buNone/>
                  <a:tabLst/>
                  <a:defRPr/>
                </a:pPr>
                <a:endParaRPr kumimoji="0" lang="en-US" sz="800" b="0" i="0" u="none" strike="noStrike" kern="1200" cap="none" spc="0" normalizeH="0" baseline="0" noProof="0">
                  <a:ln>
                    <a:noFill/>
                  </a:ln>
                  <a:solidFill>
                    <a:srgbClr val="48413E"/>
                  </a:solidFill>
                  <a:effectLst/>
                  <a:uLnTx/>
                  <a:uFillTx/>
                  <a:latin typeface="Arial" panose="020B0604020202020204"/>
                  <a:ea typeface="+mn-ea"/>
                  <a:cs typeface="+mn-cs"/>
                </a:endParaRPr>
              </a:p>
            </p:txBody>
          </p:sp>
          <p:pic>
            <p:nvPicPr>
              <p:cNvPr id="12" name="Picture 11" descr="A picture containing map, water, nature, outdoor&#10;&#10;Description automatically generated">
                <a:extLst>
                  <a:ext uri="{FF2B5EF4-FFF2-40B4-BE49-F238E27FC236}">
                    <a16:creationId xmlns:a16="http://schemas.microsoft.com/office/drawing/2014/main" id="{AD57D9AF-AB91-7662-1999-C1FAC4C4D8AF}"/>
                  </a:ext>
                </a:extLst>
              </p:cNvPr>
              <p:cNvPicPr preferRelativeResize="0">
                <a:picLocks/>
              </p:cNvPicPr>
              <p:nvPr/>
            </p:nvPicPr>
            <p:blipFill rotWithShape="1">
              <a:blip r:embed="rId4" cstate="hqprint">
                <a:extLst>
                  <a:ext uri="{28A0092B-C50C-407E-A947-70E740481C1C}">
                    <a14:useLocalDpi xmlns:a14="http://schemas.microsoft.com/office/drawing/2010/main"/>
                  </a:ext>
                </a:extLst>
              </a:blip>
              <a:srcRect t="18756" b="5970"/>
              <a:stretch/>
            </p:blipFill>
            <p:spPr>
              <a:xfrm rot="10800000">
                <a:off x="6792082" y="1755574"/>
                <a:ext cx="2203704" cy="1508760"/>
              </a:xfrm>
              <a:prstGeom prst="rect">
                <a:avLst/>
              </a:prstGeom>
            </p:spPr>
          </p:pic>
          <p:pic>
            <p:nvPicPr>
              <p:cNvPr id="13" name="Picture 12" descr="A picture containing painting, outdoor&#10;&#10;Description automatically generated">
                <a:extLst>
                  <a:ext uri="{FF2B5EF4-FFF2-40B4-BE49-F238E27FC236}">
                    <a16:creationId xmlns:a16="http://schemas.microsoft.com/office/drawing/2014/main" id="{4DE4B07C-F54C-FC11-9807-696CB4327858}"/>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9138265" y="1746297"/>
                <a:ext cx="2203704" cy="1508760"/>
              </a:xfrm>
              <a:prstGeom prst="rect">
                <a:avLst/>
              </a:prstGeom>
            </p:spPr>
          </p:pic>
          <p:sp>
            <p:nvSpPr>
              <p:cNvPr id="14" name="TextBox 13">
                <a:extLst>
                  <a:ext uri="{FF2B5EF4-FFF2-40B4-BE49-F238E27FC236}">
                    <a16:creationId xmlns:a16="http://schemas.microsoft.com/office/drawing/2014/main" id="{012A5DE7-85BA-FD74-F645-2B7B29CEE865}"/>
                  </a:ext>
                </a:extLst>
              </p:cNvPr>
              <p:cNvSpPr txBox="1"/>
              <p:nvPr/>
            </p:nvSpPr>
            <p:spPr>
              <a:xfrm>
                <a:off x="6782240" y="2905162"/>
                <a:ext cx="23221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a:ln>
                      <a:noFill/>
                    </a:ln>
                    <a:solidFill>
                      <a:srgbClr val="FFFFFF"/>
                    </a:solidFill>
                    <a:effectLst/>
                    <a:uLnTx/>
                    <a:uFillTx/>
                    <a:latin typeface="Arial"/>
                    <a:ea typeface="+mn-ea"/>
                    <a:cs typeface="+mn-cs"/>
                  </a:rPr>
                  <a:t>Παλαιός χώρος απόθεσης στείρων – Πριν (2005)</a:t>
                </a:r>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6CC24F73-26D7-6190-A559-9BC58553E36E}"/>
                  </a:ext>
                </a:extLst>
              </p:cNvPr>
              <p:cNvSpPr txBox="1"/>
              <p:nvPr/>
            </p:nvSpPr>
            <p:spPr>
              <a:xfrm>
                <a:off x="9097746" y="3008049"/>
                <a:ext cx="232214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a:ln>
                      <a:noFill/>
                    </a:ln>
                    <a:solidFill>
                      <a:srgbClr val="FFFFFF"/>
                    </a:solidFill>
                    <a:effectLst/>
                    <a:uLnTx/>
                    <a:uFillTx/>
                    <a:latin typeface="Arial"/>
                    <a:ea typeface="+mn-ea"/>
                    <a:cs typeface="+mn-cs"/>
                  </a:rPr>
                  <a:t>Παλαιοί σωροί αρσενοπυριτών – Πριν (2005)</a:t>
                </a:r>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15" descr="A picture containing grass, map, outdoor, plant&#10;&#10;Description automatically generated">
                <a:extLst>
                  <a:ext uri="{FF2B5EF4-FFF2-40B4-BE49-F238E27FC236}">
                    <a16:creationId xmlns:a16="http://schemas.microsoft.com/office/drawing/2014/main" id="{6D49EF58-4580-2991-061C-0002E1426425}"/>
                  </a:ext>
                </a:extLst>
              </p:cNvPr>
              <p:cNvPicPr preferRelativeResize="0">
                <a:picLocks/>
              </p:cNvPicPr>
              <p:nvPr/>
            </p:nvPicPr>
            <p:blipFill rotWithShape="1">
              <a:blip r:embed="rId6" cstate="hqprint">
                <a:extLst>
                  <a:ext uri="{28A0092B-C50C-407E-A947-70E740481C1C}">
                    <a14:useLocalDpi xmlns:a14="http://schemas.microsoft.com/office/drawing/2010/main"/>
                  </a:ext>
                </a:extLst>
              </a:blip>
              <a:srcRect r="8883" b="4862"/>
              <a:stretch/>
            </p:blipFill>
            <p:spPr>
              <a:xfrm rot="10800000">
                <a:off x="6787259" y="3444865"/>
                <a:ext cx="2203704" cy="1508760"/>
              </a:xfrm>
              <a:prstGeom prst="rect">
                <a:avLst/>
              </a:prstGeom>
            </p:spPr>
          </p:pic>
          <p:sp>
            <p:nvSpPr>
              <p:cNvPr id="17" name="TextBox 16">
                <a:extLst>
                  <a:ext uri="{FF2B5EF4-FFF2-40B4-BE49-F238E27FC236}">
                    <a16:creationId xmlns:a16="http://schemas.microsoft.com/office/drawing/2014/main" id="{D818B81D-ED52-4050-D1B4-7058CCA14428}"/>
                  </a:ext>
                </a:extLst>
              </p:cNvPr>
              <p:cNvSpPr txBox="1"/>
              <p:nvPr/>
            </p:nvSpPr>
            <p:spPr>
              <a:xfrm>
                <a:off x="6798588" y="4647795"/>
                <a:ext cx="2203703"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FFFFFF"/>
                    </a:solidFill>
                    <a:effectLst/>
                    <a:uLnTx/>
                    <a:uFillTx/>
                    <a:latin typeface="Arial"/>
                    <a:ea typeface="+mn-ea"/>
                    <a:cs typeface="+mn-cs"/>
                  </a:rPr>
                  <a:t>Εργασίες αποκατάστασης σε εξέλιξη </a:t>
                </a:r>
                <a:r>
                  <a:rPr kumimoji="0" lang="en-US" sz="800" b="0" i="0" u="none" strike="noStrike" kern="0" cap="none" spc="0" normalizeH="0" baseline="0" noProof="0">
                    <a:ln>
                      <a:noFill/>
                    </a:ln>
                    <a:solidFill>
                      <a:srgbClr val="FFFFFF"/>
                    </a:solidFill>
                    <a:effectLst/>
                    <a:uLnTx/>
                    <a:uFillTx/>
                    <a:latin typeface="Arial"/>
                    <a:ea typeface="+mn-ea"/>
                    <a:cs typeface="+mn-cs"/>
                  </a:rPr>
                  <a:t>(</a:t>
                </a:r>
                <a:r>
                  <a:rPr kumimoji="0" lang="el-GR" sz="800" b="0" i="0" u="none" strike="noStrike" kern="0" cap="none" spc="0" normalizeH="0" baseline="0" noProof="0">
                    <a:ln>
                      <a:noFill/>
                    </a:ln>
                    <a:solidFill>
                      <a:srgbClr val="FFFFFF"/>
                    </a:solidFill>
                    <a:effectLst/>
                    <a:uLnTx/>
                    <a:uFillTx/>
                    <a:latin typeface="Arial"/>
                    <a:ea typeface="+mn-ea"/>
                    <a:cs typeface="+mn-cs"/>
                  </a:rPr>
                  <a:t>Απρίλιος 2023</a:t>
                </a:r>
                <a:r>
                  <a:rPr kumimoji="0" lang="en-US" sz="800" b="0" i="0" u="none" strike="noStrike" kern="0" cap="none" spc="0" normalizeH="0" baseline="0" noProof="0">
                    <a:ln>
                      <a:noFill/>
                    </a:ln>
                    <a:solidFill>
                      <a:srgbClr val="FFFFFF"/>
                    </a:solidFill>
                    <a:effectLst/>
                    <a:uLnTx/>
                    <a:uFillTx/>
                    <a:latin typeface="Arial"/>
                    <a:ea typeface="+mn-ea"/>
                    <a:cs typeface="+mn-cs"/>
                  </a:rPr>
                  <a:t>)</a:t>
                </a:r>
              </a:p>
            </p:txBody>
          </p:sp>
          <p:pic>
            <p:nvPicPr>
              <p:cNvPr id="18" name="Picture 17" descr="A picture containing outdoor, map, plant, grass&#10;&#10;Description automatically generated">
                <a:extLst>
                  <a:ext uri="{FF2B5EF4-FFF2-40B4-BE49-F238E27FC236}">
                    <a16:creationId xmlns:a16="http://schemas.microsoft.com/office/drawing/2014/main" id="{A35F1A11-A6BC-2732-BBA6-CBB57BD5097A}"/>
                  </a:ext>
                </a:extLst>
              </p:cNvPr>
              <p:cNvPicPr preferRelativeResize="0">
                <a:picLocks/>
              </p:cNvPicPr>
              <p:nvPr/>
            </p:nvPicPr>
            <p:blipFill rotWithShape="1">
              <a:blip r:embed="rId7" cstate="hqprint">
                <a:extLst>
                  <a:ext uri="{28A0092B-C50C-407E-A947-70E740481C1C}">
                    <a14:useLocalDpi xmlns:a14="http://schemas.microsoft.com/office/drawing/2010/main"/>
                  </a:ext>
                </a:extLst>
              </a:blip>
              <a:srcRect l="6423" t="34008" r="22433" b="10504"/>
              <a:stretch/>
            </p:blipFill>
            <p:spPr>
              <a:xfrm rot="10800000">
                <a:off x="9136234" y="3420319"/>
                <a:ext cx="2203704" cy="1508760"/>
              </a:xfrm>
              <a:prstGeom prst="rect">
                <a:avLst/>
              </a:prstGeom>
            </p:spPr>
          </p:pic>
          <p:sp>
            <p:nvSpPr>
              <p:cNvPr id="19" name="TextBox 18">
                <a:extLst>
                  <a:ext uri="{FF2B5EF4-FFF2-40B4-BE49-F238E27FC236}">
                    <a16:creationId xmlns:a16="http://schemas.microsoft.com/office/drawing/2014/main" id="{D403D724-0F3A-C417-7F32-37E59183764D}"/>
                  </a:ext>
                </a:extLst>
              </p:cNvPr>
              <p:cNvSpPr txBox="1"/>
              <p:nvPr/>
            </p:nvSpPr>
            <p:spPr>
              <a:xfrm>
                <a:off x="9167168" y="4590990"/>
                <a:ext cx="239279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FFFFFF"/>
                    </a:solidFill>
                    <a:effectLst/>
                    <a:uLnTx/>
                    <a:uFillTx/>
                    <a:latin typeface="Arial"/>
                    <a:ea typeface="+mn-ea"/>
                    <a:cs typeface="+mn-cs"/>
                  </a:rPr>
                  <a:t>Μετά την ολοκλήρωση της αποκατάστασης </a:t>
                </a:r>
                <a:r>
                  <a:rPr kumimoji="0" lang="en-US" sz="800" b="0" i="0" u="none" strike="noStrike" kern="0" cap="none" spc="0" normalizeH="0" baseline="0" noProof="0">
                    <a:ln>
                      <a:noFill/>
                    </a:ln>
                    <a:solidFill>
                      <a:srgbClr val="FFFFFF"/>
                    </a:solidFill>
                    <a:effectLst/>
                    <a:uLnTx/>
                    <a:uFillTx/>
                    <a:latin typeface="Arial"/>
                    <a:ea typeface="+mn-ea"/>
                    <a:cs typeface="+mn-cs"/>
                  </a:rPr>
                  <a:t>(</a:t>
                </a:r>
                <a:r>
                  <a:rPr kumimoji="0" lang="el-GR" sz="800" b="0" i="0" u="none" strike="noStrike" kern="0" cap="none" spc="0" normalizeH="0" baseline="0" noProof="0">
                    <a:ln>
                      <a:noFill/>
                    </a:ln>
                    <a:solidFill>
                      <a:srgbClr val="FFFFFF"/>
                    </a:solidFill>
                    <a:effectLst/>
                    <a:uLnTx/>
                    <a:uFillTx/>
                    <a:latin typeface="Arial"/>
                    <a:ea typeface="+mn-ea"/>
                    <a:cs typeface="+mn-cs"/>
                  </a:rPr>
                  <a:t>Απρίλιος 2023</a:t>
                </a:r>
                <a:r>
                  <a:rPr kumimoji="0" lang="en-US" sz="800" b="0" i="0" u="none" strike="noStrike" kern="0" cap="none" spc="0" normalizeH="0" baseline="0" noProof="0">
                    <a:ln>
                      <a:noFill/>
                    </a:ln>
                    <a:solidFill>
                      <a:srgbClr val="FFFFFF"/>
                    </a:solidFill>
                    <a:effectLst/>
                    <a:uLnTx/>
                    <a:uFillTx/>
                    <a:latin typeface="Arial"/>
                    <a:ea typeface="+mn-ea"/>
                    <a:cs typeface="+mn-cs"/>
                  </a:rPr>
                  <a:t>)</a:t>
                </a:r>
              </a:p>
            </p:txBody>
          </p:sp>
          <p:sp>
            <p:nvSpPr>
              <p:cNvPr id="20" name="TextBox 19">
                <a:extLst>
                  <a:ext uri="{FF2B5EF4-FFF2-40B4-BE49-F238E27FC236}">
                    <a16:creationId xmlns:a16="http://schemas.microsoft.com/office/drawing/2014/main" id="{087FB9EC-3A4F-9D7F-B933-D3FD0DBBFD0D}"/>
                  </a:ext>
                </a:extLst>
              </p:cNvPr>
              <p:cNvSpPr txBox="1"/>
              <p:nvPr/>
            </p:nvSpPr>
            <p:spPr>
              <a:xfrm>
                <a:off x="6714502" y="4975056"/>
                <a:ext cx="257074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48413E"/>
                    </a:solidFill>
                    <a:effectLst/>
                    <a:uLnTx/>
                    <a:uFillTx/>
                    <a:latin typeface="Arial" panose="020B0604020202020204"/>
                    <a:ea typeface="+mn-ea"/>
                    <a:cs typeface="+mn-cs"/>
                  </a:rPr>
                  <a:t>Απομάκρυνση και επαναχρησιμοποίηση 500.000 τόνων</a:t>
                </a:r>
                <a:r>
                  <a:rPr kumimoji="0" lang="en-US" sz="800" b="0" i="0" u="none" strike="noStrike" kern="0" cap="none" spc="0" normalizeH="0" baseline="0" noProof="0">
                    <a:ln>
                      <a:noFill/>
                    </a:ln>
                    <a:solidFill>
                      <a:srgbClr val="48413E"/>
                    </a:solidFill>
                    <a:effectLst/>
                    <a:uLnTx/>
                    <a:uFillTx/>
                    <a:latin typeface="Arial" panose="020B0604020202020204"/>
                    <a:ea typeface="+mn-ea"/>
                    <a:cs typeface="+mn-cs"/>
                  </a:rPr>
                  <a:t> </a:t>
                </a:r>
                <a:r>
                  <a:rPr kumimoji="0" lang="el-GR" sz="800" b="0" i="0" u="none" strike="noStrike" kern="0" cap="none" spc="0" normalizeH="0" baseline="0" noProof="0">
                    <a:ln>
                      <a:noFill/>
                    </a:ln>
                    <a:solidFill>
                      <a:srgbClr val="48413E"/>
                    </a:solidFill>
                    <a:effectLst/>
                    <a:uLnTx/>
                    <a:uFillTx/>
                    <a:latin typeface="Arial" panose="020B0604020202020204"/>
                    <a:ea typeface="+mn-ea"/>
                    <a:cs typeface="+mn-cs"/>
                  </a:rPr>
                  <a:t>παλαιών στείρων μεταλλείου ως υλικό κατασκευής του χώρου απόθεσης Κοκκινόλακκα</a:t>
                </a:r>
                <a:endParaRPr kumimoji="0" lang="en-US" sz="800" b="0" i="0" u="none" strike="noStrike" kern="0" cap="none" spc="0" normalizeH="0" baseline="0" noProof="0">
                  <a:ln>
                    <a:noFill/>
                  </a:ln>
                  <a:solidFill>
                    <a:srgbClr val="48413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4AB51DB3-EC52-D496-7B9A-DE75F73EEE91}"/>
                  </a:ext>
                </a:extLst>
              </p:cNvPr>
              <p:cNvSpPr txBox="1"/>
              <p:nvPr/>
            </p:nvSpPr>
            <p:spPr>
              <a:xfrm>
                <a:off x="9051173" y="4953625"/>
                <a:ext cx="234026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48413E"/>
                    </a:solidFill>
                    <a:effectLst/>
                    <a:uLnTx/>
                    <a:uFillTx/>
                    <a:latin typeface="Arial" panose="020B0604020202020204"/>
                    <a:ea typeface="+mn-ea"/>
                    <a:cs typeface="+mn-cs"/>
                  </a:rPr>
                  <a:t>Απομάκρυνση 500.000 τόνων αρσενοπυρίτη &amp; επιβαρυμένων εδαφών και αποκατάσταση του  αρχικού αναγλύφου με εδαφοκάλυψη και εγκατάσταση της βλάστησης</a:t>
                </a:r>
                <a:endParaRPr kumimoji="0" lang="en-US" sz="800" b="0" i="0" u="none" strike="noStrike" kern="0" cap="none" spc="0" normalizeH="0" baseline="0" noProof="0">
                  <a:ln>
                    <a:noFill/>
                  </a:ln>
                  <a:solidFill>
                    <a:srgbClr val="48413E"/>
                  </a:solidFill>
                  <a:effectLst/>
                  <a:uLnTx/>
                  <a:uFillTx/>
                  <a:latin typeface="Arial" panose="020B0604020202020204"/>
                  <a:ea typeface="+mn-ea"/>
                  <a:cs typeface="+mn-cs"/>
                </a:endParaRPr>
              </a:p>
            </p:txBody>
          </p:sp>
        </p:grpSp>
        <p:grpSp>
          <p:nvGrpSpPr>
            <p:cNvPr id="30" name="Group 29">
              <a:extLst>
                <a:ext uri="{FF2B5EF4-FFF2-40B4-BE49-F238E27FC236}">
                  <a16:creationId xmlns:a16="http://schemas.microsoft.com/office/drawing/2014/main" id="{9DA1195E-F5D2-D027-B114-2A385C09D70F}"/>
                </a:ext>
              </a:extLst>
            </p:cNvPr>
            <p:cNvGrpSpPr/>
            <p:nvPr/>
          </p:nvGrpSpPr>
          <p:grpSpPr>
            <a:xfrm>
              <a:off x="1633293" y="3349022"/>
              <a:ext cx="4818570" cy="3386547"/>
              <a:chOff x="1633293" y="3349022"/>
              <a:chExt cx="4818570" cy="3386547"/>
            </a:xfrm>
          </p:grpSpPr>
          <p:pic>
            <p:nvPicPr>
              <p:cNvPr id="22" name="Picture 5" descr="A picture containing text&#10;&#10;Description automatically generated">
                <a:extLst>
                  <a:ext uri="{FF2B5EF4-FFF2-40B4-BE49-F238E27FC236}">
                    <a16:creationId xmlns:a16="http://schemas.microsoft.com/office/drawing/2014/main" id="{E0E3A28B-CDCF-F755-5201-C2267B441EF2}"/>
                  </a:ext>
                </a:extLst>
              </p:cNvPr>
              <p:cNvPicPr>
                <a:picLocks noChangeAspect="1"/>
              </p:cNvPicPr>
              <p:nvPr/>
            </p:nvPicPr>
            <p:blipFill>
              <a:blip r:embed="rId8"/>
              <a:stretch>
                <a:fillRect/>
              </a:stretch>
            </p:blipFill>
            <p:spPr>
              <a:xfrm>
                <a:off x="4028236" y="5253941"/>
                <a:ext cx="2329411" cy="1467398"/>
              </a:xfrm>
              <a:prstGeom prst="rect">
                <a:avLst/>
              </a:prstGeom>
            </p:spPr>
          </p:pic>
          <p:pic>
            <p:nvPicPr>
              <p:cNvPr id="23" name="Picture 3">
                <a:extLst>
                  <a:ext uri="{FF2B5EF4-FFF2-40B4-BE49-F238E27FC236}">
                    <a16:creationId xmlns:a16="http://schemas.microsoft.com/office/drawing/2014/main" id="{E4A18AE0-79B2-56BA-B3EF-AD8474C59CCA}"/>
                  </a:ext>
                </a:extLst>
              </p:cNvPr>
              <p:cNvPicPr>
                <a:picLocks noChangeAspect="1"/>
              </p:cNvPicPr>
              <p:nvPr/>
            </p:nvPicPr>
            <p:blipFill>
              <a:blip r:embed="rId9"/>
              <a:stretch>
                <a:fillRect/>
              </a:stretch>
            </p:blipFill>
            <p:spPr>
              <a:xfrm>
                <a:off x="3979035" y="3349022"/>
                <a:ext cx="2472828" cy="1512852"/>
              </a:xfrm>
              <a:prstGeom prst="rect">
                <a:avLst/>
              </a:prstGeom>
            </p:spPr>
          </p:pic>
          <p:pic>
            <p:nvPicPr>
              <p:cNvPr id="24" name="Picture 10" descr="A picture containing mountain, outdoor, nature, hillside&#10;&#10;Description automatically generated">
                <a:extLst>
                  <a:ext uri="{FF2B5EF4-FFF2-40B4-BE49-F238E27FC236}">
                    <a16:creationId xmlns:a16="http://schemas.microsoft.com/office/drawing/2014/main" id="{0BAE24B3-49EC-0E8F-19E4-B13F3D091753}"/>
                  </a:ext>
                </a:extLst>
              </p:cNvPr>
              <p:cNvPicPr>
                <a:picLocks noChangeAspect="1"/>
              </p:cNvPicPr>
              <p:nvPr/>
            </p:nvPicPr>
            <p:blipFill>
              <a:blip r:embed="rId10"/>
              <a:stretch>
                <a:fillRect/>
              </a:stretch>
            </p:blipFill>
            <p:spPr>
              <a:xfrm>
                <a:off x="1676480" y="5280957"/>
                <a:ext cx="2195772" cy="1454612"/>
              </a:xfrm>
              <a:prstGeom prst="rect">
                <a:avLst/>
              </a:prstGeom>
              <a:effectLst/>
            </p:spPr>
          </p:pic>
          <p:pic>
            <p:nvPicPr>
              <p:cNvPr id="25" name="Picture 8" descr="A picture containing ceramic ware, porcelain&#10;&#10;Description automatically generated">
                <a:extLst>
                  <a:ext uri="{FF2B5EF4-FFF2-40B4-BE49-F238E27FC236}">
                    <a16:creationId xmlns:a16="http://schemas.microsoft.com/office/drawing/2014/main" id="{1DDD37BF-CD73-40F9-B3B0-155A6D48536F}"/>
                  </a:ext>
                </a:extLst>
              </p:cNvPr>
              <p:cNvPicPr>
                <a:picLocks noChangeAspect="1"/>
              </p:cNvPicPr>
              <p:nvPr/>
            </p:nvPicPr>
            <p:blipFill>
              <a:blip r:embed="rId11"/>
              <a:stretch>
                <a:fillRect/>
              </a:stretch>
            </p:blipFill>
            <p:spPr>
              <a:xfrm>
                <a:off x="1685437" y="3397932"/>
                <a:ext cx="2236632" cy="1467290"/>
              </a:xfrm>
              <a:prstGeom prst="rect">
                <a:avLst/>
              </a:prstGeom>
            </p:spPr>
          </p:pic>
          <p:sp>
            <p:nvSpPr>
              <p:cNvPr id="26" name="TextBox 25">
                <a:extLst>
                  <a:ext uri="{FF2B5EF4-FFF2-40B4-BE49-F238E27FC236}">
                    <a16:creationId xmlns:a16="http://schemas.microsoft.com/office/drawing/2014/main" id="{5B37CA5D-1F62-FED9-EB32-F65ADBFCF83F}"/>
                  </a:ext>
                </a:extLst>
              </p:cNvPr>
              <p:cNvSpPr txBox="1"/>
              <p:nvPr/>
            </p:nvSpPr>
            <p:spPr>
              <a:xfrm>
                <a:off x="3963123" y="4831895"/>
                <a:ext cx="232214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a:ln>
                      <a:noFill/>
                    </a:ln>
                    <a:effectLst/>
                    <a:uLnTx/>
                    <a:uFillTx/>
                    <a:latin typeface="Arial"/>
                    <a:ea typeface="+mn-ea"/>
                    <a:cs typeface="+mn-cs"/>
                  </a:rPr>
                  <a:t>Ανάχωμα </a:t>
                </a:r>
                <a:r>
                  <a:rPr kumimoji="0" lang="el-GR" sz="800" b="0" i="0" u="none" strike="noStrike" kern="1200" cap="none" spc="0" normalizeH="0" baseline="0" noProof="0" err="1">
                    <a:ln>
                      <a:noFill/>
                    </a:ln>
                    <a:effectLst/>
                    <a:uLnTx/>
                    <a:uFillTx/>
                    <a:latin typeface="Arial"/>
                    <a:ea typeface="+mn-ea"/>
                    <a:cs typeface="+mn-cs"/>
                  </a:rPr>
                  <a:t>Σεβαλιέ</a:t>
                </a:r>
                <a:r>
                  <a:rPr kumimoji="0" lang="el-GR" sz="800" b="0" i="0" u="none" strike="noStrike" kern="1200" cap="none" spc="0" normalizeH="0" baseline="0" noProof="0">
                    <a:ln>
                      <a:noFill/>
                    </a:ln>
                    <a:effectLst/>
                    <a:uLnTx/>
                    <a:uFillTx/>
                    <a:latin typeface="Arial"/>
                    <a:ea typeface="+mn-ea"/>
                    <a:cs typeface="+mn-cs"/>
                  </a:rPr>
                  <a:t> </a:t>
                </a:r>
                <a:r>
                  <a:rPr kumimoji="0" lang="el-GR" sz="800" b="0" i="0" u="none" strike="noStrike" kern="1200" cap="none" spc="0" normalizeH="0" baseline="0" noProof="0" err="1">
                    <a:ln>
                      <a:noFill/>
                    </a:ln>
                    <a:effectLst/>
                    <a:uLnTx/>
                    <a:uFillTx/>
                    <a:latin typeface="Arial"/>
                    <a:ea typeface="+mn-ea"/>
                    <a:cs typeface="+mn-cs"/>
                  </a:rPr>
                  <a:t>Μαντέμ</a:t>
                </a:r>
                <a:r>
                  <a:rPr kumimoji="0" lang="el-GR" sz="800" b="0" i="0" u="none" strike="noStrike" kern="1200" cap="none" spc="0" normalizeH="0" baseline="0" noProof="0">
                    <a:ln>
                      <a:noFill/>
                    </a:ln>
                    <a:effectLst/>
                    <a:uLnTx/>
                    <a:uFillTx/>
                    <a:latin typeface="Arial"/>
                    <a:ea typeface="+mn-ea"/>
                    <a:cs typeface="+mn-cs"/>
                  </a:rPr>
                  <a:t> Λάκκος (</a:t>
                </a:r>
                <a:r>
                  <a:rPr kumimoji="0" lang="el-GR" sz="800" b="0" i="0" u="none" strike="noStrike" kern="1200" cap="none" spc="0" normalizeH="0" baseline="0" noProof="0" err="1">
                    <a:ln>
                      <a:noFill/>
                    </a:ln>
                    <a:effectLst/>
                    <a:uLnTx/>
                    <a:uFillTx/>
                    <a:latin typeface="Arial"/>
                    <a:ea typeface="+mn-ea"/>
                    <a:cs typeface="+mn-cs"/>
                  </a:rPr>
                  <a:t>Στρατώνι</a:t>
                </a:r>
                <a:r>
                  <a:rPr kumimoji="0" lang="el-GR" sz="800" b="0" i="0" u="none" strike="noStrike" kern="1200" cap="none" spc="0" normalizeH="0" baseline="0" noProof="0">
                    <a:ln>
                      <a:noFill/>
                    </a:ln>
                    <a:effectLst/>
                    <a:uLnTx/>
                    <a:uFillTx/>
                    <a:latin typeface="Arial"/>
                    <a:ea typeface="+mn-ea"/>
                    <a:cs typeface="+mn-cs"/>
                  </a:rPr>
                  <a:t>) – Πριν (20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effectLst/>
                  <a:uLnTx/>
                  <a:uFillTx/>
                  <a:latin typeface="Arial"/>
                  <a:ea typeface="+mn-ea"/>
                  <a:cs typeface="+mn-cs"/>
                </a:endParaRPr>
              </a:p>
            </p:txBody>
          </p:sp>
          <p:sp>
            <p:nvSpPr>
              <p:cNvPr id="27" name="TextBox 26">
                <a:extLst>
                  <a:ext uri="{FF2B5EF4-FFF2-40B4-BE49-F238E27FC236}">
                    <a16:creationId xmlns:a16="http://schemas.microsoft.com/office/drawing/2014/main" id="{0EC11461-EC7F-E836-5734-503EDFE324EB}"/>
                  </a:ext>
                </a:extLst>
              </p:cNvPr>
              <p:cNvSpPr txBox="1"/>
              <p:nvPr/>
            </p:nvSpPr>
            <p:spPr>
              <a:xfrm>
                <a:off x="4019051" y="5310940"/>
                <a:ext cx="239279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FFFFFF"/>
                    </a:solidFill>
                    <a:effectLst/>
                    <a:uLnTx/>
                    <a:uFillTx/>
                    <a:latin typeface="Arial"/>
                    <a:ea typeface="+mn-ea"/>
                    <a:cs typeface="+mn-cs"/>
                  </a:rPr>
                  <a:t>Μετά την ολοκλήρωση της αποκατάστασης </a:t>
                </a:r>
                <a:r>
                  <a:rPr kumimoji="0" lang="en-US" sz="800" b="0" i="0" u="none" strike="noStrike" kern="0" cap="none" spc="0" normalizeH="0" baseline="0" noProof="0">
                    <a:ln>
                      <a:noFill/>
                    </a:ln>
                    <a:solidFill>
                      <a:srgbClr val="FFFFFF"/>
                    </a:solidFill>
                    <a:effectLst/>
                    <a:uLnTx/>
                    <a:uFillTx/>
                    <a:latin typeface="Arial"/>
                    <a:ea typeface="+mn-ea"/>
                    <a:cs typeface="+mn-cs"/>
                  </a:rPr>
                  <a:t>(</a:t>
                </a:r>
                <a:r>
                  <a:rPr kumimoji="0" lang="el-GR" sz="800" b="0" i="0" u="none" strike="noStrike" kern="0" cap="none" spc="0" normalizeH="0" baseline="0" noProof="0">
                    <a:ln>
                      <a:noFill/>
                    </a:ln>
                    <a:solidFill>
                      <a:srgbClr val="FFFFFF"/>
                    </a:solidFill>
                    <a:effectLst/>
                    <a:uLnTx/>
                    <a:uFillTx/>
                    <a:latin typeface="Arial"/>
                    <a:ea typeface="+mn-ea"/>
                    <a:cs typeface="+mn-cs"/>
                  </a:rPr>
                  <a:t>2023</a:t>
                </a:r>
                <a:r>
                  <a:rPr kumimoji="0" lang="en-US" sz="800" b="0" i="0" u="none" strike="noStrike" kern="0" cap="none" spc="0" normalizeH="0" baseline="0" noProof="0">
                    <a:ln>
                      <a:noFill/>
                    </a:ln>
                    <a:solidFill>
                      <a:srgbClr val="FFFFFF"/>
                    </a:solidFill>
                    <a:effectLst/>
                    <a:uLnTx/>
                    <a:uFillTx/>
                    <a:latin typeface="Arial"/>
                    <a:ea typeface="+mn-ea"/>
                    <a:cs typeface="+mn-cs"/>
                  </a:rPr>
                  <a:t>)</a:t>
                </a:r>
              </a:p>
            </p:txBody>
          </p:sp>
          <p:sp>
            <p:nvSpPr>
              <p:cNvPr id="28" name="TextBox 27">
                <a:extLst>
                  <a:ext uri="{FF2B5EF4-FFF2-40B4-BE49-F238E27FC236}">
                    <a16:creationId xmlns:a16="http://schemas.microsoft.com/office/drawing/2014/main" id="{18DF252D-06B0-CFB9-578B-F0E21A4280E4}"/>
                  </a:ext>
                </a:extLst>
              </p:cNvPr>
              <p:cNvSpPr txBox="1"/>
              <p:nvPr/>
            </p:nvSpPr>
            <p:spPr>
              <a:xfrm>
                <a:off x="1633293" y="4818623"/>
                <a:ext cx="244644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a:ln>
                      <a:noFill/>
                    </a:ln>
                    <a:effectLst/>
                    <a:uLnTx/>
                    <a:uFillTx/>
                    <a:latin typeface="Arial"/>
                    <a:ea typeface="+mn-ea"/>
                    <a:cs typeface="+mn-cs"/>
                  </a:rPr>
                  <a:t>Παλαιός χώρος απόθεσης αποβλήτων Καρακόλι (</a:t>
                </a:r>
                <a:r>
                  <a:rPr kumimoji="0" lang="el-GR" sz="800" b="0" i="0" u="none" strike="noStrike" kern="1200" cap="none" spc="0" normalizeH="0" baseline="0" noProof="0" err="1">
                    <a:ln>
                      <a:noFill/>
                    </a:ln>
                    <a:effectLst/>
                    <a:uLnTx/>
                    <a:uFillTx/>
                    <a:latin typeface="Arial"/>
                    <a:ea typeface="+mn-ea"/>
                    <a:cs typeface="+mn-cs"/>
                  </a:rPr>
                  <a:t>Στρατώνι</a:t>
                </a:r>
                <a:r>
                  <a:rPr kumimoji="0" lang="el-GR" sz="800" b="0" i="0" u="none" strike="noStrike" kern="1200" cap="none" spc="0" normalizeH="0" baseline="0" noProof="0">
                    <a:ln>
                      <a:noFill/>
                    </a:ln>
                    <a:effectLst/>
                    <a:uLnTx/>
                    <a:uFillTx/>
                    <a:latin typeface="Arial"/>
                    <a:ea typeface="+mn-ea"/>
                    <a:cs typeface="+mn-cs"/>
                  </a:rPr>
                  <a:t>) - Πριν (2014)</a:t>
                </a:r>
                <a:endParaRPr kumimoji="0" lang="en-US" sz="800" b="0" i="0" u="none" strike="noStrike" kern="1200" cap="none" spc="0" normalizeH="0" baseline="0" noProof="0">
                  <a:ln>
                    <a:noFill/>
                  </a:ln>
                  <a:effectLst/>
                  <a:uLnTx/>
                  <a:uFillTx/>
                  <a:latin typeface="Arial"/>
                  <a:ea typeface="+mn-ea"/>
                  <a:cs typeface="+mn-cs"/>
                </a:endParaRPr>
              </a:p>
            </p:txBody>
          </p:sp>
          <p:sp>
            <p:nvSpPr>
              <p:cNvPr id="29" name="TextBox 28">
                <a:extLst>
                  <a:ext uri="{FF2B5EF4-FFF2-40B4-BE49-F238E27FC236}">
                    <a16:creationId xmlns:a16="http://schemas.microsoft.com/office/drawing/2014/main" id="{1DE40AA7-6458-5330-344F-4132412CF26C}"/>
                  </a:ext>
                </a:extLst>
              </p:cNvPr>
              <p:cNvSpPr txBox="1"/>
              <p:nvPr/>
            </p:nvSpPr>
            <p:spPr>
              <a:xfrm>
                <a:off x="1635117" y="5332343"/>
                <a:ext cx="239279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800" b="0" i="0" u="none" strike="noStrike" kern="0" cap="none" spc="0" normalizeH="0" baseline="0" noProof="0">
                    <a:ln>
                      <a:noFill/>
                    </a:ln>
                    <a:solidFill>
                      <a:srgbClr val="FFFFFF"/>
                    </a:solidFill>
                    <a:effectLst/>
                    <a:uLnTx/>
                    <a:uFillTx/>
                    <a:latin typeface="Arial"/>
                    <a:ea typeface="+mn-ea"/>
                    <a:cs typeface="+mn-cs"/>
                  </a:rPr>
                  <a:t>Μετά την ολοκλήρωση της αποκατάστασης </a:t>
                </a:r>
                <a:r>
                  <a:rPr kumimoji="0" lang="en-US" sz="800" b="0" i="0" u="none" strike="noStrike" kern="0" cap="none" spc="0" normalizeH="0" baseline="0" noProof="0">
                    <a:ln>
                      <a:noFill/>
                    </a:ln>
                    <a:solidFill>
                      <a:srgbClr val="FFFFFF"/>
                    </a:solidFill>
                    <a:effectLst/>
                    <a:uLnTx/>
                    <a:uFillTx/>
                    <a:latin typeface="Arial"/>
                    <a:ea typeface="+mn-ea"/>
                    <a:cs typeface="+mn-cs"/>
                  </a:rPr>
                  <a:t>(</a:t>
                </a:r>
                <a:r>
                  <a:rPr kumimoji="0" lang="el-GR" sz="800" b="0" i="0" u="none" strike="noStrike" kern="0" cap="none" spc="0" normalizeH="0" baseline="0" noProof="0">
                    <a:ln>
                      <a:noFill/>
                    </a:ln>
                    <a:solidFill>
                      <a:srgbClr val="FFFFFF"/>
                    </a:solidFill>
                    <a:effectLst/>
                    <a:uLnTx/>
                    <a:uFillTx/>
                    <a:latin typeface="Arial"/>
                    <a:ea typeface="+mn-ea"/>
                    <a:cs typeface="+mn-cs"/>
                  </a:rPr>
                  <a:t>2022</a:t>
                </a:r>
                <a:r>
                  <a:rPr kumimoji="0" lang="en-US" sz="800" b="0" i="0" u="none" strike="noStrike" kern="0" cap="none" spc="0" normalizeH="0" baseline="0" noProof="0">
                    <a:ln>
                      <a:noFill/>
                    </a:ln>
                    <a:solidFill>
                      <a:srgbClr val="FFFFFF"/>
                    </a:solidFill>
                    <a:effectLst/>
                    <a:uLnTx/>
                    <a:uFillTx/>
                    <a:latin typeface="Arial"/>
                    <a:ea typeface="+mn-ea"/>
                    <a:cs typeface="+mn-cs"/>
                  </a:rPr>
                  <a:t>)</a:t>
                </a:r>
              </a:p>
            </p:txBody>
          </p:sp>
        </p:grpSp>
      </p:grpSp>
      <p:sp>
        <p:nvSpPr>
          <p:cNvPr id="33" name="Freeform: Shape 32">
            <a:extLst>
              <a:ext uri="{FF2B5EF4-FFF2-40B4-BE49-F238E27FC236}">
                <a16:creationId xmlns:a16="http://schemas.microsoft.com/office/drawing/2014/main" id="{DE688CA0-0918-E0EB-5159-406F05934D2A}"/>
              </a:ext>
            </a:extLst>
          </p:cNvPr>
          <p:cNvSpPr/>
          <p:nvPr/>
        </p:nvSpPr>
        <p:spPr>
          <a:xfrm>
            <a:off x="464909" y="1056278"/>
            <a:ext cx="2125792" cy="2125792"/>
          </a:xfrm>
          <a:custGeom>
            <a:avLst/>
            <a:gdLst>
              <a:gd name="connsiteX0" fmla="*/ 0 w 2125792"/>
              <a:gd name="connsiteY0" fmla="*/ 1062896 h 2125792"/>
              <a:gd name="connsiteX1" fmla="*/ 1062896 w 2125792"/>
              <a:gd name="connsiteY1" fmla="*/ 0 h 2125792"/>
              <a:gd name="connsiteX2" fmla="*/ 2125792 w 2125792"/>
              <a:gd name="connsiteY2" fmla="*/ 1062896 h 2125792"/>
              <a:gd name="connsiteX3" fmla="*/ 1062896 w 2125792"/>
              <a:gd name="connsiteY3" fmla="*/ 2125792 h 2125792"/>
              <a:gd name="connsiteX4" fmla="*/ 0 w 2125792"/>
              <a:gd name="connsiteY4" fmla="*/ 1062896 h 2125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792" h="2125792">
                <a:moveTo>
                  <a:pt x="0" y="1062896"/>
                </a:moveTo>
                <a:cubicBezTo>
                  <a:pt x="0" y="475875"/>
                  <a:pt x="475875" y="0"/>
                  <a:pt x="1062896" y="0"/>
                </a:cubicBezTo>
                <a:cubicBezTo>
                  <a:pt x="1649917" y="0"/>
                  <a:pt x="2125792" y="475875"/>
                  <a:pt x="2125792" y="1062896"/>
                </a:cubicBezTo>
                <a:cubicBezTo>
                  <a:pt x="2125792" y="1649917"/>
                  <a:pt x="1649917" y="2125792"/>
                  <a:pt x="1062896" y="2125792"/>
                </a:cubicBezTo>
                <a:cubicBezTo>
                  <a:pt x="475875" y="2125792"/>
                  <a:pt x="0" y="1649917"/>
                  <a:pt x="0" y="1062896"/>
                </a:cubicBezTo>
                <a:close/>
              </a:path>
            </a:pathLst>
          </a:custGeom>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428304" tIns="331635" rIns="428304" bIns="331635" numCol="1" spcCol="1270" anchor="ctr" anchorCtr="0">
            <a:noAutofit/>
          </a:bodyPr>
          <a:lstStyle/>
          <a:p>
            <a:pPr marL="0" lvl="0" indent="0" algn="ctr" defTabSz="711200">
              <a:lnSpc>
                <a:spcPct val="90000"/>
              </a:lnSpc>
              <a:spcBef>
                <a:spcPct val="0"/>
              </a:spcBef>
              <a:spcAft>
                <a:spcPct val="35000"/>
              </a:spcAft>
              <a:buNone/>
            </a:pPr>
            <a:r>
              <a:rPr lang="en-GB" sz="1600" b="0" i="0" kern="1200" baseline="0"/>
              <a:t>Dry-stack tailings management</a:t>
            </a:r>
            <a:endParaRPr lang="en-GB" sz="1600" kern="1200"/>
          </a:p>
        </p:txBody>
      </p:sp>
    </p:spTree>
    <p:extLst>
      <p:ext uri="{BB962C8B-B14F-4D97-AF65-F5344CB8AC3E}">
        <p14:creationId xmlns:p14="http://schemas.microsoft.com/office/powerpoint/2010/main" val="3512976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RNRSTYLE" val="CoverTite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NRSTYLE" val="CoverTitel1"/>
</p:tagLst>
</file>

<file path=ppt/tags/tag3.xml><?xml version="1.0" encoding="utf-8"?>
<p:tagLst xmlns:a="http://schemas.openxmlformats.org/drawingml/2006/main" xmlns:r="http://schemas.openxmlformats.org/officeDocument/2006/relationships" xmlns:p="http://schemas.openxmlformats.org/presentationml/2006/main">
  <p:tag name="RNRSTYLE" val="CoverTitel1"/>
</p:tagLst>
</file>

<file path=ppt/tags/tag4.xml><?xml version="1.0" encoding="utf-8"?>
<p:tagLst xmlns:a="http://schemas.openxmlformats.org/drawingml/2006/main" xmlns:r="http://schemas.openxmlformats.org/officeDocument/2006/relationships" xmlns:p="http://schemas.openxmlformats.org/presentationml/2006/main">
  <p:tag name="RNRSTYLE" val="CoverTitel1"/>
</p:tagLst>
</file>

<file path=ppt/tags/tag5.xml><?xml version="1.0" encoding="utf-8"?>
<p:tagLst xmlns:a="http://schemas.openxmlformats.org/drawingml/2006/main" xmlns:r="http://schemas.openxmlformats.org/officeDocument/2006/relationships" xmlns:p="http://schemas.openxmlformats.org/presentationml/2006/main">
  <p:tag name="RNRSTYLE" val="CoverTitel1"/>
</p:tagLst>
</file>

<file path=ppt/tags/tag6.xml><?xml version="1.0" encoding="utf-8"?>
<p:tagLst xmlns:a="http://schemas.openxmlformats.org/drawingml/2006/main" xmlns:r="http://schemas.openxmlformats.org/officeDocument/2006/relationships" xmlns:p="http://schemas.openxmlformats.org/presentationml/2006/main">
  <p:tag name="RNRSTYLE" val="CoverTitel1"/>
</p:tagLst>
</file>

<file path=ppt/tags/tag7.xml><?xml version="1.0" encoding="utf-8"?>
<p:tagLst xmlns:a="http://schemas.openxmlformats.org/drawingml/2006/main" xmlns:r="http://schemas.openxmlformats.org/officeDocument/2006/relationships" xmlns:p="http://schemas.openxmlformats.org/presentationml/2006/main">
  <p:tag name="RNRSTYLE" val="CoverTite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white-Bg">
  <a:themeElements>
    <a:clrScheme name="EIT Colour Palette">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8_eitRaw_PresentationMaster.potx" id="{DC858601-12D4-402D-9F46-02DFA6F2EDE4}" vid="{8DEEACA0-1221-42A7-AC92-909CB06BEBB3}"/>
    </a:ext>
  </a:extLst>
</a:theme>
</file>

<file path=ppt/theme/theme2.xml><?xml version="1.0" encoding="utf-8"?>
<a:theme xmlns:a="http://schemas.openxmlformats.org/drawingml/2006/main" name="Content Slides">
  <a:themeElements>
    <a:clrScheme name="EIT RawMaterials">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A069ABC2-83F3-0C4E-A62C-1B6D9367A1DD}" vid="{EBD502B0-584A-124F-9C82-C705B4002F0F}"/>
    </a:ext>
  </a:extLst>
</a:theme>
</file>

<file path=ppt/theme/theme3.xml><?xml version="1.0" encoding="utf-8"?>
<a:theme xmlns:a="http://schemas.openxmlformats.org/drawingml/2006/main" name="Dark Background/Image">
  <a:themeElements>
    <a:clrScheme name="EIT Colour Palette">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4" id="{A069ABC2-83F3-0C4E-A62C-1B6D9367A1DD}" vid="{AFEFD578-9A2B-5C43-A622-F6ED11180A7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8DDE51D4E88941A5FC5DA62264168B" ma:contentTypeVersion="16" ma:contentTypeDescription="Create a new document." ma:contentTypeScope="" ma:versionID="e11487ea9fb356c252a1e670695f67b6">
  <xsd:schema xmlns:xsd="http://www.w3.org/2001/XMLSchema" xmlns:xs="http://www.w3.org/2001/XMLSchema" xmlns:p="http://schemas.microsoft.com/office/2006/metadata/properties" xmlns:ns2="4b45065f-5fea-45ff-9c00-6a5be42a1b2a" xmlns:ns3="15e29cb4-97d7-4dab-b50c-5012ea82a173" targetNamespace="http://schemas.microsoft.com/office/2006/metadata/properties" ma:root="true" ma:fieldsID="970b73cf81ab0fffc60021379f8e642c" ns2:_="" ns3:_="">
    <xsd:import namespace="4b45065f-5fea-45ff-9c00-6a5be42a1b2a"/>
    <xsd:import namespace="15e29cb4-97d7-4dab-b50c-5012ea82a1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5065f-5fea-45ff-9c00-6a5be42a1b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ee90750-8f71-40f6-953d-bf18f71a77a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e29cb4-97d7-4dab-b50c-5012ea82a1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e9ced650-b719-4124-a818-bf0a5fbb8f15}" ma:internalName="TaxCatchAll" ma:showField="CatchAllData" ma:web="15e29cb4-97d7-4dab-b50c-5012ea82a17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5e29cb4-97d7-4dab-b50c-5012ea82a173" xsi:nil="true"/>
    <lcf76f155ced4ddcb4097134ff3c332f xmlns="4b45065f-5fea-45ff-9c00-6a5be42a1b2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A0E50C5-D993-497D-9C5D-A58E6FECCF01}">
  <ds:schemaRefs>
    <ds:schemaRef ds:uri="http://schemas.microsoft.com/sharepoint/v3/contenttype/forms"/>
  </ds:schemaRefs>
</ds:datastoreItem>
</file>

<file path=customXml/itemProps2.xml><?xml version="1.0" encoding="utf-8"?>
<ds:datastoreItem xmlns:ds="http://schemas.openxmlformats.org/officeDocument/2006/customXml" ds:itemID="{98A902A0-9C75-431A-A1EB-5B7B108AF2A4}">
  <ds:schemaRefs>
    <ds:schemaRef ds:uri="15e29cb4-97d7-4dab-b50c-5012ea82a173"/>
    <ds:schemaRef ds:uri="4b45065f-5fea-45ff-9c00-6a5be42a1b2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79D4631-4A04-4F0E-8799-C705CB097B78}">
  <ds:schemaRefs>
    <ds:schemaRef ds:uri="15e29cb4-97d7-4dab-b50c-5012ea82a173"/>
    <ds:schemaRef ds:uri="4b45065f-5fea-45ff-9c00-6a5be42a1b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856</Words>
  <Application>Microsoft Office PowerPoint</Application>
  <PresentationFormat>Widescreen</PresentationFormat>
  <Paragraphs>175</Paragraphs>
  <Slides>15</Slides>
  <Notes>10</Notes>
  <HiddenSlides>3</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8" baseType="lpstr">
      <vt:lpstr>__fkGroteskNeue_598ab8</vt:lpstr>
      <vt:lpstr>Aptos</vt:lpstr>
      <vt:lpstr>Arial</vt:lpstr>
      <vt:lpstr>Calibri</vt:lpstr>
      <vt:lpstr>Calibri Light</vt:lpstr>
      <vt:lpstr>Georgia</vt:lpstr>
      <vt:lpstr>Roboto</vt:lpstr>
      <vt:lpstr>System Font Regular</vt:lpstr>
      <vt:lpstr>var(--font-fk-grotesk-neue)</vt:lpstr>
      <vt:lpstr>Cover-white-Bg</vt:lpstr>
      <vt:lpstr>Content Slides</vt:lpstr>
      <vt:lpstr>Dark Background/Image</vt:lpstr>
      <vt:lpstr>think-cell Slide</vt:lpstr>
      <vt:lpstr>Empowering Sustainable Mining: Building Public Trust Through Transparent Practices and Community Engagement</vt:lpstr>
      <vt:lpstr>Our Approach to Sustainability</vt:lpstr>
      <vt:lpstr>Building Public Trust Through Transparency</vt:lpstr>
      <vt:lpstr>Stakeholder Engagement Strategies</vt:lpstr>
      <vt:lpstr>Public Consultation of Environmental  &amp; Social Impact Assessment</vt:lpstr>
      <vt:lpstr>PowerPoint Presentation</vt:lpstr>
      <vt:lpstr>Skills &amp; Community Capacity Development</vt:lpstr>
      <vt:lpstr>Innovative Environmental Practices &amp; Biodiversity Protection</vt:lpstr>
      <vt:lpstr>Innovative Environmental Practices &amp; Biodiversity Protection</vt:lpstr>
      <vt:lpstr>Innovative Environmental Practices &amp; Biodiversity Protection</vt:lpstr>
      <vt:lpstr>Innovative Environmental Practices &amp; Biodiversity Protection</vt:lpstr>
      <vt:lpstr>PowerPoint Presentation</vt:lpstr>
      <vt:lpstr>About Hellas Gold</vt:lpstr>
      <vt:lpstr>CREATING VALUE FOR THE LOCAL COMMUNITIES </vt:lpstr>
      <vt:lpstr>MINING ROYALTIES FOR 2021, 2022 &amp; 2023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Μαγδαληνη Μυλωνα</dc:creator>
  <cp:lastModifiedBy>Natalia Skalkogianni (ATH)</cp:lastModifiedBy>
  <cp:revision>1</cp:revision>
  <dcterms:created xsi:type="dcterms:W3CDTF">2024-10-30T07:44:04Z</dcterms:created>
  <dcterms:modified xsi:type="dcterms:W3CDTF">2024-11-19T14:5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8DDE51D4E88941A5FC5DA62264168B</vt:lpwstr>
  </property>
  <property fmtid="{D5CDD505-2E9C-101B-9397-08002B2CF9AE}" pid="3" name="MediaServiceImageTags">
    <vt:lpwstr/>
  </property>
</Properties>
</file>